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4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8.xml" ContentType="application/vnd.openxmlformats-officedocument.presentationml.tags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9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4"/>
  </p:notesMasterIdLst>
  <p:sldIdLst>
    <p:sldId id="314" r:id="rId5"/>
    <p:sldId id="343" r:id="rId6"/>
    <p:sldId id="321" r:id="rId7"/>
    <p:sldId id="344" r:id="rId8"/>
    <p:sldId id="345" r:id="rId9"/>
    <p:sldId id="346" r:id="rId10"/>
    <p:sldId id="307" r:id="rId11"/>
    <p:sldId id="347" r:id="rId12"/>
    <p:sldId id="313" r:id="rId13"/>
  </p:sldIdLst>
  <p:sldSz cx="12192000" cy="6858000"/>
  <p:notesSz cx="6858000" cy="9144000"/>
  <p:custDataLst>
    <p:tags r:id="rId15"/>
  </p:custData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Oletusosa" id="{FA5A8899-B84F-5E46-94A4-8192503260A7}">
          <p14:sldIdLst>
            <p14:sldId id="314"/>
            <p14:sldId id="343"/>
            <p14:sldId id="321"/>
            <p14:sldId id="344"/>
            <p14:sldId id="345"/>
            <p14:sldId id="346"/>
            <p14:sldId id="307"/>
            <p14:sldId id="347"/>
            <p14:sldId id="313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C008C"/>
    <a:srgbClr val="F599C3"/>
    <a:srgbClr val="F27CB1"/>
    <a:srgbClr val="F9C3DB"/>
    <a:srgbClr val="F06AA7"/>
    <a:srgbClr val="FDE9F2"/>
    <a:srgbClr val="FACEE2"/>
    <a:srgbClr val="FFE8A7"/>
    <a:srgbClr val="FFD55D"/>
    <a:srgbClr val="FFDD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8FDA4B5-F6D4-4DE5-BB84-1D5254976D57}" v="3458" dt="2022-03-21T21:01:42.97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Normaali tyyli 2 - Korostu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A107856-5554-42FB-B03E-39F5DBC370BA}" styleName="Normaali tyyli 4 - Korostus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694"/>
    <p:restoredTop sz="94687"/>
  </p:normalViewPr>
  <p:slideViewPr>
    <p:cSldViewPr snapToGrid="0" snapToObjects="1">
      <p:cViewPr varScale="1">
        <p:scale>
          <a:sx n="128" d="100"/>
          <a:sy n="128" d="100"/>
        </p:scale>
        <p:origin x="252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elena Laasjärvi" userId="147922e0-9e4e-413c-924b-93f8f61c2127" providerId="ADAL" clId="{F8FDA4B5-F6D4-4DE5-BB84-1D5254976D57}"/>
    <pc:docChg chg="undo custSel addSld delSld modSld sldOrd modSection">
      <pc:chgData name="Helena Laasjärvi" userId="147922e0-9e4e-413c-924b-93f8f61c2127" providerId="ADAL" clId="{F8FDA4B5-F6D4-4DE5-BB84-1D5254976D57}" dt="2022-03-21T21:01:39.025" v="1017" actId="47"/>
      <pc:docMkLst>
        <pc:docMk/>
      </pc:docMkLst>
      <pc:sldChg chg="del">
        <pc:chgData name="Helena Laasjärvi" userId="147922e0-9e4e-413c-924b-93f8f61c2127" providerId="ADAL" clId="{F8FDA4B5-F6D4-4DE5-BB84-1D5254976D57}" dt="2022-03-21T21:01:32.596" v="1010" actId="47"/>
        <pc:sldMkLst>
          <pc:docMk/>
          <pc:sldMk cId="48784172" sldId="257"/>
        </pc:sldMkLst>
      </pc:sldChg>
      <pc:sldChg chg="del">
        <pc:chgData name="Helena Laasjärvi" userId="147922e0-9e4e-413c-924b-93f8f61c2127" providerId="ADAL" clId="{F8FDA4B5-F6D4-4DE5-BB84-1D5254976D57}" dt="2022-03-21T21:01:11.970" v="969" actId="47"/>
        <pc:sldMkLst>
          <pc:docMk/>
          <pc:sldMk cId="396529617" sldId="262"/>
        </pc:sldMkLst>
      </pc:sldChg>
      <pc:sldChg chg="del">
        <pc:chgData name="Helena Laasjärvi" userId="147922e0-9e4e-413c-924b-93f8f61c2127" providerId="ADAL" clId="{F8FDA4B5-F6D4-4DE5-BB84-1D5254976D57}" dt="2022-03-21T21:01:14.246" v="974" actId="47"/>
        <pc:sldMkLst>
          <pc:docMk/>
          <pc:sldMk cId="567366138" sldId="276"/>
        </pc:sldMkLst>
      </pc:sldChg>
      <pc:sldChg chg="del">
        <pc:chgData name="Helena Laasjärvi" userId="147922e0-9e4e-413c-924b-93f8f61c2127" providerId="ADAL" clId="{F8FDA4B5-F6D4-4DE5-BB84-1D5254976D57}" dt="2022-03-21T21:01:13.813" v="973" actId="47"/>
        <pc:sldMkLst>
          <pc:docMk/>
          <pc:sldMk cId="1436191983" sldId="277"/>
        </pc:sldMkLst>
      </pc:sldChg>
      <pc:sldChg chg="del">
        <pc:chgData name="Helena Laasjärvi" userId="147922e0-9e4e-413c-924b-93f8f61c2127" providerId="ADAL" clId="{F8FDA4B5-F6D4-4DE5-BB84-1D5254976D57}" dt="2022-03-21T21:01:13.413" v="972" actId="47"/>
        <pc:sldMkLst>
          <pc:docMk/>
          <pc:sldMk cId="638171817" sldId="279"/>
        </pc:sldMkLst>
      </pc:sldChg>
      <pc:sldChg chg="del">
        <pc:chgData name="Helena Laasjärvi" userId="147922e0-9e4e-413c-924b-93f8f61c2127" providerId="ADAL" clId="{F8FDA4B5-F6D4-4DE5-BB84-1D5254976D57}" dt="2022-03-21T21:01:12.968" v="971" actId="47"/>
        <pc:sldMkLst>
          <pc:docMk/>
          <pc:sldMk cId="1522835767" sldId="280"/>
        </pc:sldMkLst>
      </pc:sldChg>
      <pc:sldChg chg="del">
        <pc:chgData name="Helena Laasjärvi" userId="147922e0-9e4e-413c-924b-93f8f61c2127" providerId="ADAL" clId="{F8FDA4B5-F6D4-4DE5-BB84-1D5254976D57}" dt="2022-03-21T21:01:12.506" v="970" actId="47"/>
        <pc:sldMkLst>
          <pc:docMk/>
          <pc:sldMk cId="2750018942" sldId="281"/>
        </pc:sldMkLst>
      </pc:sldChg>
      <pc:sldChg chg="del">
        <pc:chgData name="Helena Laasjärvi" userId="147922e0-9e4e-413c-924b-93f8f61c2127" providerId="ADAL" clId="{F8FDA4B5-F6D4-4DE5-BB84-1D5254976D57}" dt="2022-03-21T21:01:15.476" v="977" actId="47"/>
        <pc:sldMkLst>
          <pc:docMk/>
          <pc:sldMk cId="832256426" sldId="283"/>
        </pc:sldMkLst>
      </pc:sldChg>
      <pc:sldChg chg="del">
        <pc:chgData name="Helena Laasjärvi" userId="147922e0-9e4e-413c-924b-93f8f61c2127" providerId="ADAL" clId="{F8FDA4B5-F6D4-4DE5-BB84-1D5254976D57}" dt="2022-03-21T21:01:15.094" v="976" actId="47"/>
        <pc:sldMkLst>
          <pc:docMk/>
          <pc:sldMk cId="3030195058" sldId="284"/>
        </pc:sldMkLst>
      </pc:sldChg>
      <pc:sldChg chg="del">
        <pc:chgData name="Helena Laasjärvi" userId="147922e0-9e4e-413c-924b-93f8f61c2127" providerId="ADAL" clId="{F8FDA4B5-F6D4-4DE5-BB84-1D5254976D57}" dt="2022-03-21T21:01:14.678" v="975" actId="47"/>
        <pc:sldMkLst>
          <pc:docMk/>
          <pc:sldMk cId="1681479401" sldId="287"/>
        </pc:sldMkLst>
      </pc:sldChg>
      <pc:sldChg chg="del">
        <pc:chgData name="Helena Laasjärvi" userId="147922e0-9e4e-413c-924b-93f8f61c2127" providerId="ADAL" clId="{F8FDA4B5-F6D4-4DE5-BB84-1D5254976D57}" dt="2022-03-21T21:01:15.865" v="978" actId="47"/>
        <pc:sldMkLst>
          <pc:docMk/>
          <pc:sldMk cId="715913612" sldId="288"/>
        </pc:sldMkLst>
      </pc:sldChg>
      <pc:sldChg chg="addSp delSp modSp del mod ord">
        <pc:chgData name="Helena Laasjärvi" userId="147922e0-9e4e-413c-924b-93f8f61c2127" providerId="ADAL" clId="{F8FDA4B5-F6D4-4DE5-BB84-1D5254976D57}" dt="2022-03-21T20:50:09.196" v="827" actId="2696"/>
        <pc:sldMkLst>
          <pc:docMk/>
          <pc:sldMk cId="752674889" sldId="289"/>
        </pc:sldMkLst>
        <pc:spChg chg="mod">
          <ac:chgData name="Helena Laasjärvi" userId="147922e0-9e4e-413c-924b-93f8f61c2127" providerId="ADAL" clId="{F8FDA4B5-F6D4-4DE5-BB84-1D5254976D57}" dt="2022-03-21T20:48:23.047" v="764" actId="948"/>
          <ac:spMkLst>
            <pc:docMk/>
            <pc:sldMk cId="752674889" sldId="289"/>
            <ac:spMk id="2" creationId="{3C758F86-BBBF-48AA-8EC6-ADA1457FD750}"/>
          </ac:spMkLst>
        </pc:spChg>
        <pc:spChg chg="add del mod modVis">
          <ac:chgData name="Helena Laasjärvi" userId="147922e0-9e4e-413c-924b-93f8f61c2127" providerId="ADAL" clId="{F8FDA4B5-F6D4-4DE5-BB84-1D5254976D57}" dt="2022-03-21T20:46:56.564" v="667"/>
          <ac:spMkLst>
            <pc:docMk/>
            <pc:sldMk cId="752674889" sldId="289"/>
            <ac:spMk id="27" creationId="{98FB199C-0C30-4D0A-BC4A-25D5B6277C94}"/>
          </ac:spMkLst>
        </pc:spChg>
        <pc:spChg chg="add del mod modVis">
          <ac:chgData name="Helena Laasjärvi" userId="147922e0-9e4e-413c-924b-93f8f61c2127" providerId="ADAL" clId="{F8FDA4B5-F6D4-4DE5-BB84-1D5254976D57}" dt="2022-03-21T20:48:02.515" v="714"/>
          <ac:spMkLst>
            <pc:docMk/>
            <pc:sldMk cId="752674889" sldId="289"/>
            <ac:spMk id="28" creationId="{4F3462B6-011D-4643-A0B9-3012A84148DC}"/>
          </ac:spMkLst>
        </pc:spChg>
        <pc:spChg chg="add del mod modVis">
          <ac:chgData name="Helena Laasjärvi" userId="147922e0-9e4e-413c-924b-93f8f61c2127" providerId="ADAL" clId="{F8FDA4B5-F6D4-4DE5-BB84-1D5254976D57}" dt="2022-03-21T20:48:04.702" v="758"/>
          <ac:spMkLst>
            <pc:docMk/>
            <pc:sldMk cId="752674889" sldId="289"/>
            <ac:spMk id="29" creationId="{F43902DC-BEC9-4382-875C-FC609C336657}"/>
          </ac:spMkLst>
        </pc:spChg>
        <pc:spChg chg="add del mod modVis">
          <ac:chgData name="Helena Laasjärvi" userId="147922e0-9e4e-413c-924b-93f8f61c2127" providerId="ADAL" clId="{F8FDA4B5-F6D4-4DE5-BB84-1D5254976D57}" dt="2022-03-21T20:48:23.109" v="803"/>
          <ac:spMkLst>
            <pc:docMk/>
            <pc:sldMk cId="752674889" sldId="289"/>
            <ac:spMk id="30" creationId="{220A45D1-A425-465D-A3EA-EF5C5FF1EF15}"/>
          </ac:spMkLst>
        </pc:spChg>
        <pc:graphicFrameChg chg="mod">
          <ac:chgData name="Helena Laasjärvi" userId="147922e0-9e4e-413c-924b-93f8f61c2127" providerId="ADAL" clId="{F8FDA4B5-F6D4-4DE5-BB84-1D5254976D57}" dt="2022-03-21T20:48:23.125" v="805"/>
          <ac:graphicFrameMkLst>
            <pc:docMk/>
            <pc:sldMk cId="752674889" sldId="289"/>
            <ac:graphicFrameMk id="10" creationId="{C0C92CC4-9821-445B-8FC1-C7630CDC1D48}"/>
          </ac:graphicFrameMkLst>
        </pc:graphicFrameChg>
        <pc:picChg chg="mod">
          <ac:chgData name="Helena Laasjärvi" userId="147922e0-9e4e-413c-924b-93f8f61c2127" providerId="ADAL" clId="{F8FDA4B5-F6D4-4DE5-BB84-1D5254976D57}" dt="2022-03-21T20:48:16.621" v="762" actId="14100"/>
          <ac:picMkLst>
            <pc:docMk/>
            <pc:sldMk cId="752674889" sldId="289"/>
            <ac:picMk id="26" creationId="{328AC4BB-AECD-47FE-B305-B95D452F1AE0}"/>
          </ac:picMkLst>
        </pc:picChg>
      </pc:sldChg>
      <pc:sldChg chg="del">
        <pc:chgData name="Helena Laasjärvi" userId="147922e0-9e4e-413c-924b-93f8f61c2127" providerId="ADAL" clId="{F8FDA4B5-F6D4-4DE5-BB84-1D5254976D57}" dt="2022-03-21T21:01:20.693" v="990" actId="47"/>
        <pc:sldMkLst>
          <pc:docMk/>
          <pc:sldMk cId="2930245678" sldId="290"/>
        </pc:sldMkLst>
      </pc:sldChg>
      <pc:sldChg chg="del">
        <pc:chgData name="Helena Laasjärvi" userId="147922e0-9e4e-413c-924b-93f8f61c2127" providerId="ADAL" clId="{F8FDA4B5-F6D4-4DE5-BB84-1D5254976D57}" dt="2022-03-21T21:01:19.142" v="986" actId="47"/>
        <pc:sldMkLst>
          <pc:docMk/>
          <pc:sldMk cId="1374272036" sldId="291"/>
        </pc:sldMkLst>
      </pc:sldChg>
      <pc:sldChg chg="del">
        <pc:chgData name="Helena Laasjärvi" userId="147922e0-9e4e-413c-924b-93f8f61c2127" providerId="ADAL" clId="{F8FDA4B5-F6D4-4DE5-BB84-1D5254976D57}" dt="2022-03-21T21:01:18.757" v="985" actId="47"/>
        <pc:sldMkLst>
          <pc:docMk/>
          <pc:sldMk cId="1503456678" sldId="292"/>
        </pc:sldMkLst>
      </pc:sldChg>
      <pc:sldChg chg="del">
        <pc:chgData name="Helena Laasjärvi" userId="147922e0-9e4e-413c-924b-93f8f61c2127" providerId="ADAL" clId="{F8FDA4B5-F6D4-4DE5-BB84-1D5254976D57}" dt="2022-03-21T21:01:18.387" v="984" actId="47"/>
        <pc:sldMkLst>
          <pc:docMk/>
          <pc:sldMk cId="2362643404" sldId="293"/>
        </pc:sldMkLst>
      </pc:sldChg>
      <pc:sldChg chg="del">
        <pc:chgData name="Helena Laasjärvi" userId="147922e0-9e4e-413c-924b-93f8f61c2127" providerId="ADAL" clId="{F8FDA4B5-F6D4-4DE5-BB84-1D5254976D57}" dt="2022-03-21T21:01:17.948" v="983" actId="47"/>
        <pc:sldMkLst>
          <pc:docMk/>
          <pc:sldMk cId="2306014607" sldId="294"/>
        </pc:sldMkLst>
      </pc:sldChg>
      <pc:sldChg chg="del">
        <pc:chgData name="Helena Laasjärvi" userId="147922e0-9e4e-413c-924b-93f8f61c2127" providerId="ADAL" clId="{F8FDA4B5-F6D4-4DE5-BB84-1D5254976D57}" dt="2022-03-21T21:01:17.572" v="982" actId="47"/>
        <pc:sldMkLst>
          <pc:docMk/>
          <pc:sldMk cId="2948409664" sldId="295"/>
        </pc:sldMkLst>
      </pc:sldChg>
      <pc:sldChg chg="del">
        <pc:chgData name="Helena Laasjärvi" userId="147922e0-9e4e-413c-924b-93f8f61c2127" providerId="ADAL" clId="{F8FDA4B5-F6D4-4DE5-BB84-1D5254976D57}" dt="2022-03-21T21:01:17.137" v="981" actId="47"/>
        <pc:sldMkLst>
          <pc:docMk/>
          <pc:sldMk cId="3358695604" sldId="296"/>
        </pc:sldMkLst>
      </pc:sldChg>
      <pc:sldChg chg="del">
        <pc:chgData name="Helena Laasjärvi" userId="147922e0-9e4e-413c-924b-93f8f61c2127" providerId="ADAL" clId="{F8FDA4B5-F6D4-4DE5-BB84-1D5254976D57}" dt="2022-03-21T21:01:16.721" v="980" actId="47"/>
        <pc:sldMkLst>
          <pc:docMk/>
          <pc:sldMk cId="1902614847" sldId="298"/>
        </pc:sldMkLst>
      </pc:sldChg>
      <pc:sldChg chg="del">
        <pc:chgData name="Helena Laasjärvi" userId="147922e0-9e4e-413c-924b-93f8f61c2127" providerId="ADAL" clId="{F8FDA4B5-F6D4-4DE5-BB84-1D5254976D57}" dt="2022-03-21T21:01:16.297" v="979" actId="47"/>
        <pc:sldMkLst>
          <pc:docMk/>
          <pc:sldMk cId="2781864839" sldId="299"/>
        </pc:sldMkLst>
      </pc:sldChg>
      <pc:sldChg chg="del">
        <pc:chgData name="Helena Laasjärvi" userId="147922e0-9e4e-413c-924b-93f8f61c2127" providerId="ADAL" clId="{F8FDA4B5-F6D4-4DE5-BB84-1D5254976D57}" dt="2022-03-21T21:01:20.292" v="989" actId="47"/>
        <pc:sldMkLst>
          <pc:docMk/>
          <pc:sldMk cId="918289778" sldId="300"/>
        </pc:sldMkLst>
      </pc:sldChg>
      <pc:sldChg chg="del">
        <pc:chgData name="Helena Laasjärvi" userId="147922e0-9e4e-413c-924b-93f8f61c2127" providerId="ADAL" clId="{F8FDA4B5-F6D4-4DE5-BB84-1D5254976D57}" dt="2022-03-21T21:01:19.529" v="987" actId="47"/>
        <pc:sldMkLst>
          <pc:docMk/>
          <pc:sldMk cId="3517716753" sldId="301"/>
        </pc:sldMkLst>
      </pc:sldChg>
      <pc:sldChg chg="del">
        <pc:chgData name="Helena Laasjärvi" userId="147922e0-9e4e-413c-924b-93f8f61c2127" providerId="ADAL" clId="{F8FDA4B5-F6D4-4DE5-BB84-1D5254976D57}" dt="2022-03-21T21:01:19.929" v="988" actId="47"/>
        <pc:sldMkLst>
          <pc:docMk/>
          <pc:sldMk cId="1589890886" sldId="302"/>
        </pc:sldMkLst>
      </pc:sldChg>
      <pc:sldChg chg="del">
        <pc:chgData name="Helena Laasjärvi" userId="147922e0-9e4e-413c-924b-93f8f61c2127" providerId="ADAL" clId="{F8FDA4B5-F6D4-4DE5-BB84-1D5254976D57}" dt="2022-03-21T21:01:22.082" v="994" actId="47"/>
        <pc:sldMkLst>
          <pc:docMk/>
          <pc:sldMk cId="4103225806" sldId="303"/>
        </pc:sldMkLst>
      </pc:sldChg>
      <pc:sldChg chg="del">
        <pc:chgData name="Helena Laasjärvi" userId="147922e0-9e4e-413c-924b-93f8f61c2127" providerId="ADAL" clId="{F8FDA4B5-F6D4-4DE5-BB84-1D5254976D57}" dt="2022-03-21T21:01:37.337" v="1016" actId="47"/>
        <pc:sldMkLst>
          <pc:docMk/>
          <pc:sldMk cId="2567248277" sldId="304"/>
        </pc:sldMkLst>
      </pc:sldChg>
      <pc:sldChg chg="del">
        <pc:chgData name="Helena Laasjärvi" userId="147922e0-9e4e-413c-924b-93f8f61c2127" providerId="ADAL" clId="{F8FDA4B5-F6D4-4DE5-BB84-1D5254976D57}" dt="2022-03-21T21:01:29.380" v="1005" actId="47"/>
        <pc:sldMkLst>
          <pc:docMk/>
          <pc:sldMk cId="4070654495" sldId="305"/>
        </pc:sldMkLst>
      </pc:sldChg>
      <pc:sldChg chg="del">
        <pc:chgData name="Helena Laasjärvi" userId="147922e0-9e4e-413c-924b-93f8f61c2127" providerId="ADAL" clId="{F8FDA4B5-F6D4-4DE5-BB84-1D5254976D57}" dt="2022-03-21T21:01:21.781" v="993" actId="47"/>
        <pc:sldMkLst>
          <pc:docMk/>
          <pc:sldMk cId="549404346" sldId="306"/>
        </pc:sldMkLst>
      </pc:sldChg>
      <pc:sldChg chg="delSp modSp mod ord">
        <pc:chgData name="Helena Laasjärvi" userId="147922e0-9e4e-413c-924b-93f8f61c2127" providerId="ADAL" clId="{F8FDA4B5-F6D4-4DE5-BB84-1D5254976D57}" dt="2022-03-21T20:55:23.701" v="903" actId="478"/>
        <pc:sldMkLst>
          <pc:docMk/>
          <pc:sldMk cId="4123276159" sldId="307"/>
        </pc:sldMkLst>
        <pc:spChg chg="del">
          <ac:chgData name="Helena Laasjärvi" userId="147922e0-9e4e-413c-924b-93f8f61c2127" providerId="ADAL" clId="{F8FDA4B5-F6D4-4DE5-BB84-1D5254976D57}" dt="2022-03-21T20:55:23.701" v="903" actId="478"/>
          <ac:spMkLst>
            <pc:docMk/>
            <pc:sldMk cId="4123276159" sldId="307"/>
            <ac:spMk id="3" creationId="{F11D86D1-2E03-42E9-A372-AD660C7DB75E}"/>
          </ac:spMkLst>
        </pc:spChg>
        <pc:spChg chg="mod">
          <ac:chgData name="Helena Laasjärvi" userId="147922e0-9e4e-413c-924b-93f8f61c2127" providerId="ADAL" clId="{F8FDA4B5-F6D4-4DE5-BB84-1D5254976D57}" dt="2022-03-21T20:55:13.239" v="901"/>
          <ac:spMkLst>
            <pc:docMk/>
            <pc:sldMk cId="4123276159" sldId="307"/>
            <ac:spMk id="10" creationId="{0AA9639B-B7E2-44C5-9CA4-50187E024E5F}"/>
          </ac:spMkLst>
        </pc:spChg>
        <pc:picChg chg="mod">
          <ac:chgData name="Helena Laasjärvi" userId="147922e0-9e4e-413c-924b-93f8f61c2127" providerId="ADAL" clId="{F8FDA4B5-F6D4-4DE5-BB84-1D5254976D57}" dt="2022-03-21T20:55:20.064" v="902" actId="1076"/>
          <ac:picMkLst>
            <pc:docMk/>
            <pc:sldMk cId="4123276159" sldId="307"/>
            <ac:picMk id="6" creationId="{9D1B725A-9F7F-4A5F-A8A5-52289C013BBA}"/>
          </ac:picMkLst>
        </pc:picChg>
      </pc:sldChg>
      <pc:sldChg chg="del">
        <pc:chgData name="Helena Laasjärvi" userId="147922e0-9e4e-413c-924b-93f8f61c2127" providerId="ADAL" clId="{F8FDA4B5-F6D4-4DE5-BB84-1D5254976D57}" dt="2022-03-21T21:01:21.333" v="992" actId="47"/>
        <pc:sldMkLst>
          <pc:docMk/>
          <pc:sldMk cId="1579759834" sldId="309"/>
        </pc:sldMkLst>
      </pc:sldChg>
      <pc:sldChg chg="del">
        <pc:chgData name="Helena Laasjärvi" userId="147922e0-9e4e-413c-924b-93f8f61c2127" providerId="ADAL" clId="{F8FDA4B5-F6D4-4DE5-BB84-1D5254976D57}" dt="2022-03-21T21:01:28.475" v="1003" actId="47"/>
        <pc:sldMkLst>
          <pc:docMk/>
          <pc:sldMk cId="181953243" sldId="311"/>
        </pc:sldMkLst>
      </pc:sldChg>
      <pc:sldChg chg="del">
        <pc:chgData name="Helena Laasjärvi" userId="147922e0-9e4e-413c-924b-93f8f61c2127" providerId="ADAL" clId="{F8FDA4B5-F6D4-4DE5-BB84-1D5254976D57}" dt="2022-03-21T21:01:21.032" v="991" actId="47"/>
        <pc:sldMkLst>
          <pc:docMk/>
          <pc:sldMk cId="2657336914" sldId="312"/>
        </pc:sldMkLst>
      </pc:sldChg>
      <pc:sldChg chg="addSp delSp modSp mod ord">
        <pc:chgData name="Helena Laasjärvi" userId="147922e0-9e4e-413c-924b-93f8f61c2127" providerId="ADAL" clId="{F8FDA4B5-F6D4-4DE5-BB84-1D5254976D57}" dt="2022-03-21T21:00:16.750" v="967" actId="1076"/>
        <pc:sldMkLst>
          <pc:docMk/>
          <pc:sldMk cId="588515560" sldId="313"/>
        </pc:sldMkLst>
        <pc:picChg chg="del">
          <ac:chgData name="Helena Laasjärvi" userId="147922e0-9e4e-413c-924b-93f8f61c2127" providerId="ADAL" clId="{F8FDA4B5-F6D4-4DE5-BB84-1D5254976D57}" dt="2022-03-21T21:00:01.739" v="962" actId="478"/>
          <ac:picMkLst>
            <pc:docMk/>
            <pc:sldMk cId="588515560" sldId="313"/>
            <ac:picMk id="4" creationId="{DCE70FE3-38AB-478E-BFA9-690D7662901A}"/>
          </ac:picMkLst>
        </pc:picChg>
        <pc:picChg chg="del">
          <ac:chgData name="Helena Laasjärvi" userId="147922e0-9e4e-413c-924b-93f8f61c2127" providerId="ADAL" clId="{F8FDA4B5-F6D4-4DE5-BB84-1D5254976D57}" dt="2022-03-21T21:00:02.538" v="963" actId="478"/>
          <ac:picMkLst>
            <pc:docMk/>
            <pc:sldMk cId="588515560" sldId="313"/>
            <ac:picMk id="6" creationId="{0198D3F2-5E1F-4B6B-8595-959A64EC3772}"/>
          </ac:picMkLst>
        </pc:picChg>
        <pc:picChg chg="del">
          <ac:chgData name="Helena Laasjärvi" userId="147922e0-9e4e-413c-924b-93f8f61c2127" providerId="ADAL" clId="{F8FDA4B5-F6D4-4DE5-BB84-1D5254976D57}" dt="2022-03-21T21:00:03.574" v="964" actId="478"/>
          <ac:picMkLst>
            <pc:docMk/>
            <pc:sldMk cId="588515560" sldId="313"/>
            <ac:picMk id="8" creationId="{E9614EB4-DBB3-43C9-92A9-53743184788B}"/>
          </ac:picMkLst>
        </pc:picChg>
        <pc:picChg chg="add mod">
          <ac:chgData name="Helena Laasjärvi" userId="147922e0-9e4e-413c-924b-93f8f61c2127" providerId="ADAL" clId="{F8FDA4B5-F6D4-4DE5-BB84-1D5254976D57}" dt="2022-03-21T21:00:16.750" v="967" actId="1076"/>
          <ac:picMkLst>
            <pc:docMk/>
            <pc:sldMk cId="588515560" sldId="313"/>
            <ac:picMk id="11" creationId="{5B29651F-B6A1-4255-9E21-CACB7100E2FC}"/>
          </ac:picMkLst>
        </pc:picChg>
      </pc:sldChg>
      <pc:sldChg chg="addSp delSp modSp mod">
        <pc:chgData name="Helena Laasjärvi" userId="147922e0-9e4e-413c-924b-93f8f61c2127" providerId="ADAL" clId="{F8FDA4B5-F6D4-4DE5-BB84-1D5254976D57}" dt="2022-03-21T20:32:25.229" v="404" actId="1076"/>
        <pc:sldMkLst>
          <pc:docMk/>
          <pc:sldMk cId="181922694" sldId="314"/>
        </pc:sldMkLst>
        <pc:spChg chg="mod">
          <ac:chgData name="Helena Laasjärvi" userId="147922e0-9e4e-413c-924b-93f8f61c2127" providerId="ADAL" clId="{F8FDA4B5-F6D4-4DE5-BB84-1D5254976D57}" dt="2022-03-21T20:30:56.872" v="352" actId="948"/>
          <ac:spMkLst>
            <pc:docMk/>
            <pc:sldMk cId="181922694" sldId="314"/>
            <ac:spMk id="2" creationId="{00000000-0000-0000-0000-000000000000}"/>
          </ac:spMkLst>
        </pc:spChg>
        <pc:spChg chg="add del mod modVis">
          <ac:chgData name="Helena Laasjärvi" userId="147922e0-9e4e-413c-924b-93f8f61c2127" providerId="ADAL" clId="{F8FDA4B5-F6D4-4DE5-BB84-1D5254976D57}" dt="2022-03-21T20:30:33.979" v="41"/>
          <ac:spMkLst>
            <pc:docMk/>
            <pc:sldMk cId="181922694" sldId="314"/>
            <ac:spMk id="38" creationId="{2E69CE8C-BCD1-4B1D-8AFD-78CACB3C6877}"/>
          </ac:spMkLst>
        </pc:spChg>
        <pc:spChg chg="add del mod modVis">
          <ac:chgData name="Helena Laasjärvi" userId="147922e0-9e4e-413c-924b-93f8f61c2127" providerId="ADAL" clId="{F8FDA4B5-F6D4-4DE5-BB84-1D5254976D57}" dt="2022-03-21T20:30:41.781" v="99"/>
          <ac:spMkLst>
            <pc:docMk/>
            <pc:sldMk cId="181922694" sldId="314"/>
            <ac:spMk id="39" creationId="{F873F8D3-5930-4245-9B79-FFAE27E240F5}"/>
          </ac:spMkLst>
        </pc:spChg>
        <pc:spChg chg="add del mod modVis">
          <ac:chgData name="Helena Laasjärvi" userId="147922e0-9e4e-413c-924b-93f8f61c2127" providerId="ADAL" clId="{F8FDA4B5-F6D4-4DE5-BB84-1D5254976D57}" dt="2022-03-21T20:30:42.591" v="142"/>
          <ac:spMkLst>
            <pc:docMk/>
            <pc:sldMk cId="181922694" sldId="314"/>
            <ac:spMk id="40" creationId="{04FC3650-6A3A-49E9-9DD9-7FA5290CDC7B}"/>
          </ac:spMkLst>
        </pc:spChg>
        <pc:spChg chg="add del mod modVis">
          <ac:chgData name="Helena Laasjärvi" userId="147922e0-9e4e-413c-924b-93f8f61c2127" providerId="ADAL" clId="{F8FDA4B5-F6D4-4DE5-BB84-1D5254976D57}" dt="2022-03-21T20:30:44.527" v="188"/>
          <ac:spMkLst>
            <pc:docMk/>
            <pc:sldMk cId="181922694" sldId="314"/>
            <ac:spMk id="41" creationId="{88BEA79F-ABCC-4517-BDE2-CA4748178862}"/>
          </ac:spMkLst>
        </pc:spChg>
        <pc:spChg chg="add del mod modVis">
          <ac:chgData name="Helena Laasjärvi" userId="147922e0-9e4e-413c-924b-93f8f61c2127" providerId="ADAL" clId="{F8FDA4B5-F6D4-4DE5-BB84-1D5254976D57}" dt="2022-03-21T20:30:46.865" v="239"/>
          <ac:spMkLst>
            <pc:docMk/>
            <pc:sldMk cId="181922694" sldId="314"/>
            <ac:spMk id="42" creationId="{3FFBEC49-078F-4626-81A4-04D5C850AE8B}"/>
          </ac:spMkLst>
        </pc:spChg>
        <pc:spChg chg="add del mod modVis">
          <ac:chgData name="Helena Laasjärvi" userId="147922e0-9e4e-413c-924b-93f8f61c2127" providerId="ADAL" clId="{F8FDA4B5-F6D4-4DE5-BB84-1D5254976D57}" dt="2022-03-21T20:30:48.947" v="292"/>
          <ac:spMkLst>
            <pc:docMk/>
            <pc:sldMk cId="181922694" sldId="314"/>
            <ac:spMk id="43" creationId="{9B960DCA-0089-4FFF-BEB4-763DF8975AC0}"/>
          </ac:spMkLst>
        </pc:spChg>
        <pc:spChg chg="add del mod modVis">
          <ac:chgData name="Helena Laasjärvi" userId="147922e0-9e4e-413c-924b-93f8f61c2127" providerId="ADAL" clId="{F8FDA4B5-F6D4-4DE5-BB84-1D5254976D57}" dt="2022-03-21T20:30:52.351" v="348"/>
          <ac:spMkLst>
            <pc:docMk/>
            <pc:sldMk cId="181922694" sldId="314"/>
            <ac:spMk id="44" creationId="{EAF1FBC7-4630-43C3-A98B-0B51DED6F5CC}"/>
          </ac:spMkLst>
        </pc:spChg>
        <pc:spChg chg="add del mod modVis">
          <ac:chgData name="Helena Laasjärvi" userId="147922e0-9e4e-413c-924b-93f8f61c2127" providerId="ADAL" clId="{F8FDA4B5-F6D4-4DE5-BB84-1D5254976D57}" dt="2022-03-21T20:30:56.957" v="391"/>
          <ac:spMkLst>
            <pc:docMk/>
            <pc:sldMk cId="181922694" sldId="314"/>
            <ac:spMk id="45" creationId="{81EFA34F-E606-4D50-B994-A8EA08CC8BA3}"/>
          </ac:spMkLst>
        </pc:spChg>
        <pc:graphicFrameChg chg="mod">
          <ac:chgData name="Helena Laasjärvi" userId="147922e0-9e4e-413c-924b-93f8f61c2127" providerId="ADAL" clId="{F8FDA4B5-F6D4-4DE5-BB84-1D5254976D57}" dt="2022-03-21T20:30:56.963" v="393"/>
          <ac:graphicFrameMkLst>
            <pc:docMk/>
            <pc:sldMk cId="181922694" sldId="314"/>
            <ac:graphicFrameMk id="6" creationId="{E1BF22A5-5A57-4AF6-B247-2D8B493D9B63}"/>
          </ac:graphicFrameMkLst>
        </pc:graphicFrameChg>
        <pc:graphicFrameChg chg="mod">
          <ac:chgData name="Helena Laasjärvi" userId="147922e0-9e4e-413c-924b-93f8f61c2127" providerId="ADAL" clId="{F8FDA4B5-F6D4-4DE5-BB84-1D5254976D57}" dt="2022-03-21T20:32:25.229" v="404" actId="1076"/>
          <ac:graphicFrameMkLst>
            <pc:docMk/>
            <pc:sldMk cId="181922694" sldId="314"/>
            <ac:graphicFrameMk id="8" creationId="{311B8604-8FEE-42BB-AF19-CDBE2DDB3F11}"/>
          </ac:graphicFrameMkLst>
        </pc:graphicFrameChg>
      </pc:sldChg>
      <pc:sldChg chg="del">
        <pc:chgData name="Helena Laasjärvi" userId="147922e0-9e4e-413c-924b-93f8f61c2127" providerId="ADAL" clId="{F8FDA4B5-F6D4-4DE5-BB84-1D5254976D57}" dt="2022-03-21T21:01:31.430" v="1008" actId="47"/>
        <pc:sldMkLst>
          <pc:docMk/>
          <pc:sldMk cId="724025729" sldId="315"/>
        </pc:sldMkLst>
      </pc:sldChg>
      <pc:sldChg chg="del">
        <pc:chgData name="Helena Laasjärvi" userId="147922e0-9e4e-413c-924b-93f8f61c2127" providerId="ADAL" clId="{F8FDA4B5-F6D4-4DE5-BB84-1D5254976D57}" dt="2022-03-21T21:01:23.300" v="995" actId="47"/>
        <pc:sldMkLst>
          <pc:docMk/>
          <pc:sldMk cId="3149145955" sldId="316"/>
        </pc:sldMkLst>
      </pc:sldChg>
      <pc:sldChg chg="del">
        <pc:chgData name="Helena Laasjärvi" userId="147922e0-9e4e-413c-924b-93f8f61c2127" providerId="ADAL" clId="{F8FDA4B5-F6D4-4DE5-BB84-1D5254976D57}" dt="2022-03-21T21:01:30.552" v="1007" actId="47"/>
        <pc:sldMkLst>
          <pc:docMk/>
          <pc:sldMk cId="863750448" sldId="317"/>
        </pc:sldMkLst>
      </pc:sldChg>
      <pc:sldChg chg="del">
        <pc:chgData name="Helena Laasjärvi" userId="147922e0-9e4e-413c-924b-93f8f61c2127" providerId="ADAL" clId="{F8FDA4B5-F6D4-4DE5-BB84-1D5254976D57}" dt="2022-03-21T21:01:32.179" v="1009" actId="47"/>
        <pc:sldMkLst>
          <pc:docMk/>
          <pc:sldMk cId="1594535289" sldId="319"/>
        </pc:sldMkLst>
      </pc:sldChg>
      <pc:sldChg chg="del">
        <pc:chgData name="Helena Laasjärvi" userId="147922e0-9e4e-413c-924b-93f8f61c2127" providerId="ADAL" clId="{F8FDA4B5-F6D4-4DE5-BB84-1D5254976D57}" dt="2022-03-21T21:01:23.785" v="996" actId="47"/>
        <pc:sldMkLst>
          <pc:docMk/>
          <pc:sldMk cId="2851854799" sldId="320"/>
        </pc:sldMkLst>
      </pc:sldChg>
      <pc:sldChg chg="addSp delSp modSp mod ord">
        <pc:chgData name="Helena Laasjärvi" userId="147922e0-9e4e-413c-924b-93f8f61c2127" providerId="ADAL" clId="{F8FDA4B5-F6D4-4DE5-BB84-1D5254976D57}" dt="2022-03-21T20:42:52.075" v="546" actId="1076"/>
        <pc:sldMkLst>
          <pc:docMk/>
          <pc:sldMk cId="31896352" sldId="321"/>
        </pc:sldMkLst>
        <pc:spChg chg="mod">
          <ac:chgData name="Helena Laasjärvi" userId="147922e0-9e4e-413c-924b-93f8f61c2127" providerId="ADAL" clId="{F8FDA4B5-F6D4-4DE5-BB84-1D5254976D57}" dt="2022-03-21T20:35:57.582" v="436" actId="948"/>
          <ac:spMkLst>
            <pc:docMk/>
            <pc:sldMk cId="31896352" sldId="321"/>
            <ac:spMk id="2" creationId="{00000000-0000-0000-0000-000000000000}"/>
          </ac:spMkLst>
        </pc:spChg>
        <pc:spChg chg="add del mod modVis">
          <ac:chgData name="Helena Laasjärvi" userId="147922e0-9e4e-413c-924b-93f8f61c2127" providerId="ADAL" clId="{F8FDA4B5-F6D4-4DE5-BB84-1D5254976D57}" dt="2022-03-21T20:35:57.667" v="475"/>
          <ac:spMkLst>
            <pc:docMk/>
            <pc:sldMk cId="31896352" sldId="321"/>
            <ac:spMk id="7" creationId="{5954B77D-E079-4B65-8028-9788D061D6E2}"/>
          </ac:spMkLst>
        </pc:spChg>
        <pc:spChg chg="mod">
          <ac:chgData name="Helena Laasjärvi" userId="147922e0-9e4e-413c-924b-93f8f61c2127" providerId="ADAL" clId="{F8FDA4B5-F6D4-4DE5-BB84-1D5254976D57}" dt="2022-03-21T20:36:35.632" v="482"/>
          <ac:spMkLst>
            <pc:docMk/>
            <pc:sldMk cId="31896352" sldId="321"/>
            <ac:spMk id="20" creationId="{33F42C49-B5C3-48EE-9E77-398558F8C768}"/>
          </ac:spMkLst>
        </pc:spChg>
        <pc:spChg chg="add del mod">
          <ac:chgData name="Helena Laasjärvi" userId="147922e0-9e4e-413c-924b-93f8f61c2127" providerId="ADAL" clId="{F8FDA4B5-F6D4-4DE5-BB84-1D5254976D57}" dt="2022-03-21T20:36:54.328" v="485"/>
          <ac:spMkLst>
            <pc:docMk/>
            <pc:sldMk cId="31896352" sldId="321"/>
            <ac:spMk id="40" creationId="{7EB2350F-3046-43E0-B155-A96187EAE572}"/>
          </ac:spMkLst>
        </pc:spChg>
        <pc:spChg chg="mod">
          <ac:chgData name="Helena Laasjärvi" userId="147922e0-9e4e-413c-924b-93f8f61c2127" providerId="ADAL" clId="{F8FDA4B5-F6D4-4DE5-BB84-1D5254976D57}" dt="2022-03-21T20:36:58.944" v="486"/>
          <ac:spMkLst>
            <pc:docMk/>
            <pc:sldMk cId="31896352" sldId="321"/>
            <ac:spMk id="42" creationId="{3566DCCF-996E-4171-8BB0-845E0B1461E0}"/>
          </ac:spMkLst>
        </pc:spChg>
        <pc:spChg chg="mod">
          <ac:chgData name="Helena Laasjärvi" userId="147922e0-9e4e-413c-924b-93f8f61c2127" providerId="ADAL" clId="{F8FDA4B5-F6D4-4DE5-BB84-1D5254976D57}" dt="2022-03-21T20:38:19.672" v="503"/>
          <ac:spMkLst>
            <pc:docMk/>
            <pc:sldMk cId="31896352" sldId="321"/>
            <ac:spMk id="43" creationId="{052CFC5D-7C35-4A9D-8167-D889B8B50107}"/>
          </ac:spMkLst>
        </pc:spChg>
        <pc:spChg chg="mod">
          <ac:chgData name="Helena Laasjärvi" userId="147922e0-9e4e-413c-924b-93f8f61c2127" providerId="ADAL" clId="{F8FDA4B5-F6D4-4DE5-BB84-1D5254976D57}" dt="2022-03-21T20:37:07.099" v="488"/>
          <ac:spMkLst>
            <pc:docMk/>
            <pc:sldMk cId="31896352" sldId="321"/>
            <ac:spMk id="45" creationId="{A3A5EB5E-6320-49A3-86D8-EDDF1DFECA79}"/>
          </ac:spMkLst>
        </pc:spChg>
        <pc:spChg chg="mod">
          <ac:chgData name="Helena Laasjärvi" userId="147922e0-9e4e-413c-924b-93f8f61c2127" providerId="ADAL" clId="{F8FDA4B5-F6D4-4DE5-BB84-1D5254976D57}" dt="2022-03-21T20:37:07.099" v="488"/>
          <ac:spMkLst>
            <pc:docMk/>
            <pc:sldMk cId="31896352" sldId="321"/>
            <ac:spMk id="46" creationId="{56841721-8276-42D1-9E63-DAAA104DA796}"/>
          </ac:spMkLst>
        </pc:spChg>
        <pc:spChg chg="mod">
          <ac:chgData name="Helena Laasjärvi" userId="147922e0-9e4e-413c-924b-93f8f61c2127" providerId="ADAL" clId="{F8FDA4B5-F6D4-4DE5-BB84-1D5254976D57}" dt="2022-03-21T20:37:22.592" v="494"/>
          <ac:spMkLst>
            <pc:docMk/>
            <pc:sldMk cId="31896352" sldId="321"/>
            <ac:spMk id="50" creationId="{F046CA39-A931-4A57-81A4-7D2924E8D09B}"/>
          </ac:spMkLst>
        </pc:spChg>
        <pc:spChg chg="mod">
          <ac:chgData name="Helena Laasjärvi" userId="147922e0-9e4e-413c-924b-93f8f61c2127" providerId="ADAL" clId="{F8FDA4B5-F6D4-4DE5-BB84-1D5254976D57}" dt="2022-03-21T20:37:22.592" v="494"/>
          <ac:spMkLst>
            <pc:docMk/>
            <pc:sldMk cId="31896352" sldId="321"/>
            <ac:spMk id="51" creationId="{A922C67B-582A-4098-9A75-E7B3DA8FC9C3}"/>
          </ac:spMkLst>
        </pc:spChg>
        <pc:spChg chg="mod">
          <ac:chgData name="Helena Laasjärvi" userId="147922e0-9e4e-413c-924b-93f8f61c2127" providerId="ADAL" clId="{F8FDA4B5-F6D4-4DE5-BB84-1D5254976D57}" dt="2022-03-21T20:37:29.844" v="496"/>
          <ac:spMkLst>
            <pc:docMk/>
            <pc:sldMk cId="31896352" sldId="321"/>
            <ac:spMk id="53" creationId="{3EA02169-40E3-4014-A299-424D2FC3C472}"/>
          </ac:spMkLst>
        </pc:spChg>
        <pc:spChg chg="mod">
          <ac:chgData name="Helena Laasjärvi" userId="147922e0-9e4e-413c-924b-93f8f61c2127" providerId="ADAL" clId="{F8FDA4B5-F6D4-4DE5-BB84-1D5254976D57}" dt="2022-03-21T20:37:29.844" v="496"/>
          <ac:spMkLst>
            <pc:docMk/>
            <pc:sldMk cId="31896352" sldId="321"/>
            <ac:spMk id="54" creationId="{D6916FE9-F877-4DFA-84D2-23C6E7C8FE16}"/>
          </ac:spMkLst>
        </pc:spChg>
        <pc:spChg chg="mod">
          <ac:chgData name="Helena Laasjärvi" userId="147922e0-9e4e-413c-924b-93f8f61c2127" providerId="ADAL" clId="{F8FDA4B5-F6D4-4DE5-BB84-1D5254976D57}" dt="2022-03-21T20:39:01.588" v="508"/>
          <ac:spMkLst>
            <pc:docMk/>
            <pc:sldMk cId="31896352" sldId="321"/>
            <ac:spMk id="56" creationId="{29918849-D9D1-4871-8E5F-C56E44D186AC}"/>
          </ac:spMkLst>
        </pc:spChg>
        <pc:spChg chg="mod">
          <ac:chgData name="Helena Laasjärvi" userId="147922e0-9e4e-413c-924b-93f8f61c2127" providerId="ADAL" clId="{F8FDA4B5-F6D4-4DE5-BB84-1D5254976D57}" dt="2022-03-21T20:39:27.259" v="513"/>
          <ac:spMkLst>
            <pc:docMk/>
            <pc:sldMk cId="31896352" sldId="321"/>
            <ac:spMk id="57" creationId="{0C29839A-CD2D-4507-9DE6-AF52D4D95B3F}"/>
          </ac:spMkLst>
        </pc:spChg>
        <pc:spChg chg="mod">
          <ac:chgData name="Helena Laasjärvi" userId="147922e0-9e4e-413c-924b-93f8f61c2127" providerId="ADAL" clId="{F8FDA4B5-F6D4-4DE5-BB84-1D5254976D57}" dt="2022-03-21T20:39:54.959" v="516"/>
          <ac:spMkLst>
            <pc:docMk/>
            <pc:sldMk cId="31896352" sldId="321"/>
            <ac:spMk id="59" creationId="{5097E19F-BE3C-454D-A13D-A491EE16E6F0}"/>
          </ac:spMkLst>
        </pc:spChg>
        <pc:spChg chg="mod">
          <ac:chgData name="Helena Laasjärvi" userId="147922e0-9e4e-413c-924b-93f8f61c2127" providerId="ADAL" clId="{F8FDA4B5-F6D4-4DE5-BB84-1D5254976D57}" dt="2022-03-21T20:40:12.807" v="519"/>
          <ac:spMkLst>
            <pc:docMk/>
            <pc:sldMk cId="31896352" sldId="321"/>
            <ac:spMk id="60" creationId="{BFDA93DE-549B-4054-BF80-9D6129757F40}"/>
          </ac:spMkLst>
        </pc:spChg>
        <pc:spChg chg="mod">
          <ac:chgData name="Helena Laasjärvi" userId="147922e0-9e4e-413c-924b-93f8f61c2127" providerId="ADAL" clId="{F8FDA4B5-F6D4-4DE5-BB84-1D5254976D57}" dt="2022-03-21T20:40:44.975" v="525"/>
          <ac:spMkLst>
            <pc:docMk/>
            <pc:sldMk cId="31896352" sldId="321"/>
            <ac:spMk id="62" creationId="{A0648C33-DB63-46EE-B0EC-391C334F958E}"/>
          </ac:spMkLst>
        </pc:spChg>
        <pc:spChg chg="mod">
          <ac:chgData name="Helena Laasjärvi" userId="147922e0-9e4e-413c-924b-93f8f61c2127" providerId="ADAL" clId="{F8FDA4B5-F6D4-4DE5-BB84-1D5254976D57}" dt="2022-03-21T20:41:11.236" v="530" actId="14100"/>
          <ac:spMkLst>
            <pc:docMk/>
            <pc:sldMk cId="31896352" sldId="321"/>
            <ac:spMk id="63" creationId="{2EA052F7-9136-4B0C-BFED-128ADD090E40}"/>
          </ac:spMkLst>
        </pc:spChg>
        <pc:grpChg chg="mod">
          <ac:chgData name="Helena Laasjärvi" userId="147922e0-9e4e-413c-924b-93f8f61c2127" providerId="ADAL" clId="{F8FDA4B5-F6D4-4DE5-BB84-1D5254976D57}" dt="2022-03-21T20:42:33.804" v="544" actId="1076"/>
          <ac:grpSpMkLst>
            <pc:docMk/>
            <pc:sldMk cId="31896352" sldId="321"/>
            <ac:grpSpMk id="18" creationId="{95BCAAE5-5C53-48E6-9FF6-4399AAABD4D1}"/>
          </ac:grpSpMkLst>
        </pc:grpChg>
        <pc:grpChg chg="del">
          <ac:chgData name="Helena Laasjärvi" userId="147922e0-9e4e-413c-924b-93f8f61c2127" providerId="ADAL" clId="{F8FDA4B5-F6D4-4DE5-BB84-1D5254976D57}" dt="2022-03-21T20:37:19.313" v="492" actId="478"/>
          <ac:grpSpMkLst>
            <pc:docMk/>
            <pc:sldMk cId="31896352" sldId="321"/>
            <ac:grpSpMk id="21" creationId="{A537BD05-EE9A-4640-BA4B-0BBF1A5E9A0C}"/>
          </ac:grpSpMkLst>
        </pc:grpChg>
        <pc:grpChg chg="del">
          <ac:chgData name="Helena Laasjärvi" userId="147922e0-9e4e-413c-924b-93f8f61c2127" providerId="ADAL" clId="{F8FDA4B5-F6D4-4DE5-BB84-1D5254976D57}" dt="2022-03-21T20:37:17.819" v="491" actId="478"/>
          <ac:grpSpMkLst>
            <pc:docMk/>
            <pc:sldMk cId="31896352" sldId="321"/>
            <ac:grpSpMk id="24" creationId="{7D86F2AA-F73B-44E6-AC9B-80FA049005C0}"/>
          </ac:grpSpMkLst>
        </pc:grpChg>
        <pc:grpChg chg="del">
          <ac:chgData name="Helena Laasjärvi" userId="147922e0-9e4e-413c-924b-93f8f61c2127" providerId="ADAL" clId="{F8FDA4B5-F6D4-4DE5-BB84-1D5254976D57}" dt="2022-03-21T20:37:20.762" v="493" actId="478"/>
          <ac:grpSpMkLst>
            <pc:docMk/>
            <pc:sldMk cId="31896352" sldId="321"/>
            <ac:grpSpMk id="27" creationId="{ECB1719E-F54E-4D20-A1F6-311B8011AFAD}"/>
          </ac:grpSpMkLst>
        </pc:grpChg>
        <pc:grpChg chg="add mod">
          <ac:chgData name="Helena Laasjärvi" userId="147922e0-9e4e-413c-924b-93f8f61c2127" providerId="ADAL" clId="{F8FDA4B5-F6D4-4DE5-BB84-1D5254976D57}" dt="2022-03-21T20:42:33.804" v="544" actId="1076"/>
          <ac:grpSpMkLst>
            <pc:docMk/>
            <pc:sldMk cId="31896352" sldId="321"/>
            <ac:grpSpMk id="41" creationId="{56BEE513-E2AE-4880-B09B-AC251138EA11}"/>
          </ac:grpSpMkLst>
        </pc:grpChg>
        <pc:grpChg chg="add del mod">
          <ac:chgData name="Helena Laasjärvi" userId="147922e0-9e4e-413c-924b-93f8f61c2127" providerId="ADAL" clId="{F8FDA4B5-F6D4-4DE5-BB84-1D5254976D57}" dt="2022-03-21T20:40:38.751" v="524" actId="478"/>
          <ac:grpSpMkLst>
            <pc:docMk/>
            <pc:sldMk cId="31896352" sldId="321"/>
            <ac:grpSpMk id="44" creationId="{2E768B08-E37D-45D5-8D6A-7B4B3316D9DE}"/>
          </ac:grpSpMkLst>
        </pc:grpChg>
        <pc:grpChg chg="add del mod">
          <ac:chgData name="Helena Laasjärvi" userId="147922e0-9e4e-413c-924b-93f8f61c2127" providerId="ADAL" clId="{F8FDA4B5-F6D4-4DE5-BB84-1D5254976D57}" dt="2022-03-21T20:40:37.550" v="523" actId="478"/>
          <ac:grpSpMkLst>
            <pc:docMk/>
            <pc:sldMk cId="31896352" sldId="321"/>
            <ac:grpSpMk id="47" creationId="{0C53779E-A530-43A8-A009-1DB3E01B20A9}"/>
          </ac:grpSpMkLst>
        </pc:grpChg>
        <pc:grpChg chg="add del mod">
          <ac:chgData name="Helena Laasjärvi" userId="147922e0-9e4e-413c-924b-93f8f61c2127" providerId="ADAL" clId="{F8FDA4B5-F6D4-4DE5-BB84-1D5254976D57}" dt="2022-03-21T20:40:35.966" v="522" actId="478"/>
          <ac:grpSpMkLst>
            <pc:docMk/>
            <pc:sldMk cId="31896352" sldId="321"/>
            <ac:grpSpMk id="52" creationId="{1F1BE955-481B-41AB-ADD5-7BFEA337E33E}"/>
          </ac:grpSpMkLst>
        </pc:grpChg>
        <pc:grpChg chg="add mod">
          <ac:chgData name="Helena Laasjärvi" userId="147922e0-9e4e-413c-924b-93f8f61c2127" providerId="ADAL" clId="{F8FDA4B5-F6D4-4DE5-BB84-1D5254976D57}" dt="2022-03-21T20:42:33.804" v="544" actId="1076"/>
          <ac:grpSpMkLst>
            <pc:docMk/>
            <pc:sldMk cId="31896352" sldId="321"/>
            <ac:grpSpMk id="55" creationId="{DB276990-1DBD-4F7B-BAD8-02B75C18F2AB}"/>
          </ac:grpSpMkLst>
        </pc:grpChg>
        <pc:grpChg chg="add mod">
          <ac:chgData name="Helena Laasjärvi" userId="147922e0-9e4e-413c-924b-93f8f61c2127" providerId="ADAL" clId="{F8FDA4B5-F6D4-4DE5-BB84-1D5254976D57}" dt="2022-03-21T20:42:33.804" v="544" actId="1076"/>
          <ac:grpSpMkLst>
            <pc:docMk/>
            <pc:sldMk cId="31896352" sldId="321"/>
            <ac:grpSpMk id="58" creationId="{D6A8E6FF-842C-46AB-ACE7-F0591BD5AD2E}"/>
          </ac:grpSpMkLst>
        </pc:grpChg>
        <pc:grpChg chg="add mod">
          <ac:chgData name="Helena Laasjärvi" userId="147922e0-9e4e-413c-924b-93f8f61c2127" providerId="ADAL" clId="{F8FDA4B5-F6D4-4DE5-BB84-1D5254976D57}" dt="2022-03-21T20:42:33.804" v="544" actId="1076"/>
          <ac:grpSpMkLst>
            <pc:docMk/>
            <pc:sldMk cId="31896352" sldId="321"/>
            <ac:grpSpMk id="61" creationId="{AE39A476-2E17-40BC-84DD-9BBAA014B5C3}"/>
          </ac:grpSpMkLst>
        </pc:grpChg>
        <pc:graphicFrameChg chg="mod">
          <ac:chgData name="Helena Laasjärvi" userId="147922e0-9e4e-413c-924b-93f8f61c2127" providerId="ADAL" clId="{F8FDA4B5-F6D4-4DE5-BB84-1D5254976D57}" dt="2022-03-21T20:35:57.667" v="477"/>
          <ac:graphicFrameMkLst>
            <pc:docMk/>
            <pc:sldMk cId="31896352" sldId="321"/>
            <ac:graphicFrameMk id="3" creationId="{E23B38B6-C474-4478-B461-DDE3DD760AB1}"/>
          </ac:graphicFrameMkLst>
        </pc:graphicFrameChg>
        <pc:picChg chg="mod">
          <ac:chgData name="Helena Laasjärvi" userId="147922e0-9e4e-413c-924b-93f8f61c2127" providerId="ADAL" clId="{F8FDA4B5-F6D4-4DE5-BB84-1D5254976D57}" dt="2022-03-21T20:42:52.075" v="546" actId="1076"/>
          <ac:picMkLst>
            <pc:docMk/>
            <pc:sldMk cId="31896352" sldId="321"/>
            <ac:picMk id="5" creationId="{8FCC6E92-11BF-44FA-A81B-6B5F5BCC5EDD}"/>
          </ac:picMkLst>
        </pc:picChg>
      </pc:sldChg>
      <pc:sldChg chg="del">
        <pc:chgData name="Helena Laasjärvi" userId="147922e0-9e4e-413c-924b-93f8f61c2127" providerId="ADAL" clId="{F8FDA4B5-F6D4-4DE5-BB84-1D5254976D57}" dt="2022-03-21T21:01:25.409" v="998" actId="47"/>
        <pc:sldMkLst>
          <pc:docMk/>
          <pc:sldMk cId="34063811" sldId="322"/>
        </pc:sldMkLst>
      </pc:sldChg>
      <pc:sldChg chg="del">
        <pc:chgData name="Helena Laasjärvi" userId="147922e0-9e4e-413c-924b-93f8f61c2127" providerId="ADAL" clId="{F8FDA4B5-F6D4-4DE5-BB84-1D5254976D57}" dt="2022-03-21T21:01:06.360" v="968" actId="47"/>
        <pc:sldMkLst>
          <pc:docMk/>
          <pc:sldMk cId="2302383710" sldId="323"/>
        </pc:sldMkLst>
      </pc:sldChg>
      <pc:sldChg chg="del">
        <pc:chgData name="Helena Laasjärvi" userId="147922e0-9e4e-413c-924b-93f8f61c2127" providerId="ADAL" clId="{F8FDA4B5-F6D4-4DE5-BB84-1D5254976D57}" dt="2022-03-21T21:01:24.501" v="997" actId="47"/>
        <pc:sldMkLst>
          <pc:docMk/>
          <pc:sldMk cId="742727706" sldId="324"/>
        </pc:sldMkLst>
      </pc:sldChg>
      <pc:sldChg chg="del">
        <pc:chgData name="Helena Laasjärvi" userId="147922e0-9e4e-413c-924b-93f8f61c2127" providerId="ADAL" clId="{F8FDA4B5-F6D4-4DE5-BB84-1D5254976D57}" dt="2022-03-21T21:01:26.462" v="1000" actId="47"/>
        <pc:sldMkLst>
          <pc:docMk/>
          <pc:sldMk cId="2673673509" sldId="325"/>
        </pc:sldMkLst>
      </pc:sldChg>
      <pc:sldChg chg="del">
        <pc:chgData name="Helena Laasjärvi" userId="147922e0-9e4e-413c-924b-93f8f61c2127" providerId="ADAL" clId="{F8FDA4B5-F6D4-4DE5-BB84-1D5254976D57}" dt="2022-03-21T21:01:26.031" v="999" actId="47"/>
        <pc:sldMkLst>
          <pc:docMk/>
          <pc:sldMk cId="450801208" sldId="326"/>
        </pc:sldMkLst>
      </pc:sldChg>
      <pc:sldChg chg="del">
        <pc:chgData name="Helena Laasjärvi" userId="147922e0-9e4e-413c-924b-93f8f61c2127" providerId="ADAL" clId="{F8FDA4B5-F6D4-4DE5-BB84-1D5254976D57}" dt="2022-03-21T21:01:28.057" v="1002" actId="47"/>
        <pc:sldMkLst>
          <pc:docMk/>
          <pc:sldMk cId="1955026970" sldId="327"/>
        </pc:sldMkLst>
      </pc:sldChg>
      <pc:sldChg chg="del">
        <pc:chgData name="Helena Laasjärvi" userId="147922e0-9e4e-413c-924b-93f8f61c2127" providerId="ADAL" clId="{F8FDA4B5-F6D4-4DE5-BB84-1D5254976D57}" dt="2022-03-21T21:01:27.095" v="1001" actId="47"/>
        <pc:sldMkLst>
          <pc:docMk/>
          <pc:sldMk cId="647569095" sldId="328"/>
        </pc:sldMkLst>
      </pc:sldChg>
      <pc:sldChg chg="del">
        <pc:chgData name="Helena Laasjärvi" userId="147922e0-9e4e-413c-924b-93f8f61c2127" providerId="ADAL" clId="{F8FDA4B5-F6D4-4DE5-BB84-1D5254976D57}" dt="2022-03-21T21:01:29.897" v="1006" actId="47"/>
        <pc:sldMkLst>
          <pc:docMk/>
          <pc:sldMk cId="2303161499" sldId="329"/>
        </pc:sldMkLst>
      </pc:sldChg>
      <pc:sldChg chg="del">
        <pc:chgData name="Helena Laasjärvi" userId="147922e0-9e4e-413c-924b-93f8f61c2127" providerId="ADAL" clId="{F8FDA4B5-F6D4-4DE5-BB84-1D5254976D57}" dt="2022-03-21T21:01:35.684" v="1014" actId="47"/>
        <pc:sldMkLst>
          <pc:docMk/>
          <pc:sldMk cId="4044381824" sldId="330"/>
        </pc:sldMkLst>
      </pc:sldChg>
      <pc:sldChg chg="del">
        <pc:chgData name="Helena Laasjärvi" userId="147922e0-9e4e-413c-924b-93f8f61c2127" providerId="ADAL" clId="{F8FDA4B5-F6D4-4DE5-BB84-1D5254976D57}" dt="2022-03-21T21:01:28.921" v="1004" actId="47"/>
        <pc:sldMkLst>
          <pc:docMk/>
          <pc:sldMk cId="3929637336" sldId="331"/>
        </pc:sldMkLst>
      </pc:sldChg>
      <pc:sldChg chg="del">
        <pc:chgData name="Helena Laasjärvi" userId="147922e0-9e4e-413c-924b-93f8f61c2127" providerId="ADAL" clId="{F8FDA4B5-F6D4-4DE5-BB84-1D5254976D57}" dt="2022-03-21T21:01:06.360" v="968" actId="47"/>
        <pc:sldMkLst>
          <pc:docMk/>
          <pc:sldMk cId="2656244910" sldId="332"/>
        </pc:sldMkLst>
      </pc:sldChg>
      <pc:sldChg chg="del">
        <pc:chgData name="Helena Laasjärvi" userId="147922e0-9e4e-413c-924b-93f8f61c2127" providerId="ADAL" clId="{F8FDA4B5-F6D4-4DE5-BB84-1D5254976D57}" dt="2022-03-21T21:01:06.360" v="968" actId="47"/>
        <pc:sldMkLst>
          <pc:docMk/>
          <pc:sldMk cId="3837540713" sldId="333"/>
        </pc:sldMkLst>
      </pc:sldChg>
      <pc:sldChg chg="del">
        <pc:chgData name="Helena Laasjärvi" userId="147922e0-9e4e-413c-924b-93f8f61c2127" providerId="ADAL" clId="{F8FDA4B5-F6D4-4DE5-BB84-1D5254976D57}" dt="2022-03-21T21:01:36.466" v="1015" actId="47"/>
        <pc:sldMkLst>
          <pc:docMk/>
          <pc:sldMk cId="4093303929" sldId="334"/>
        </pc:sldMkLst>
      </pc:sldChg>
      <pc:sldChg chg="del">
        <pc:chgData name="Helena Laasjärvi" userId="147922e0-9e4e-413c-924b-93f8f61c2127" providerId="ADAL" clId="{F8FDA4B5-F6D4-4DE5-BB84-1D5254976D57}" dt="2022-03-21T21:01:35.198" v="1013" actId="47"/>
        <pc:sldMkLst>
          <pc:docMk/>
          <pc:sldMk cId="3060497981" sldId="335"/>
        </pc:sldMkLst>
      </pc:sldChg>
      <pc:sldChg chg="del">
        <pc:chgData name="Helena Laasjärvi" userId="147922e0-9e4e-413c-924b-93f8f61c2127" providerId="ADAL" clId="{F8FDA4B5-F6D4-4DE5-BB84-1D5254976D57}" dt="2022-03-21T21:01:39.025" v="1017" actId="47"/>
        <pc:sldMkLst>
          <pc:docMk/>
          <pc:sldMk cId="1273959850" sldId="336"/>
        </pc:sldMkLst>
      </pc:sldChg>
      <pc:sldChg chg="del">
        <pc:chgData name="Helena Laasjärvi" userId="147922e0-9e4e-413c-924b-93f8f61c2127" providerId="ADAL" clId="{F8FDA4B5-F6D4-4DE5-BB84-1D5254976D57}" dt="2022-03-21T21:01:34.460" v="1012" actId="47"/>
        <pc:sldMkLst>
          <pc:docMk/>
          <pc:sldMk cId="1435096970" sldId="337"/>
        </pc:sldMkLst>
      </pc:sldChg>
      <pc:sldChg chg="del">
        <pc:chgData name="Helena Laasjärvi" userId="147922e0-9e4e-413c-924b-93f8f61c2127" providerId="ADAL" clId="{F8FDA4B5-F6D4-4DE5-BB84-1D5254976D57}" dt="2022-03-21T21:01:33.933" v="1011" actId="47"/>
        <pc:sldMkLst>
          <pc:docMk/>
          <pc:sldMk cId="3401915877" sldId="338"/>
        </pc:sldMkLst>
      </pc:sldChg>
      <pc:sldChg chg="del">
        <pc:chgData name="Helena Laasjärvi" userId="147922e0-9e4e-413c-924b-93f8f61c2127" providerId="ADAL" clId="{F8FDA4B5-F6D4-4DE5-BB84-1D5254976D57}" dt="2022-03-21T21:01:06.360" v="968" actId="47"/>
        <pc:sldMkLst>
          <pc:docMk/>
          <pc:sldMk cId="2551821641" sldId="339"/>
        </pc:sldMkLst>
      </pc:sldChg>
      <pc:sldChg chg="del">
        <pc:chgData name="Helena Laasjärvi" userId="147922e0-9e4e-413c-924b-93f8f61c2127" providerId="ADAL" clId="{F8FDA4B5-F6D4-4DE5-BB84-1D5254976D57}" dt="2022-03-21T21:01:06.360" v="968" actId="47"/>
        <pc:sldMkLst>
          <pc:docMk/>
          <pc:sldMk cId="2877642831" sldId="340"/>
        </pc:sldMkLst>
      </pc:sldChg>
      <pc:sldChg chg="del">
        <pc:chgData name="Helena Laasjärvi" userId="147922e0-9e4e-413c-924b-93f8f61c2127" providerId="ADAL" clId="{F8FDA4B5-F6D4-4DE5-BB84-1D5254976D57}" dt="2022-03-21T21:01:06.360" v="968" actId="47"/>
        <pc:sldMkLst>
          <pc:docMk/>
          <pc:sldMk cId="1745881650" sldId="341"/>
        </pc:sldMkLst>
      </pc:sldChg>
      <pc:sldChg chg="del">
        <pc:chgData name="Helena Laasjärvi" userId="147922e0-9e4e-413c-924b-93f8f61c2127" providerId="ADAL" clId="{F8FDA4B5-F6D4-4DE5-BB84-1D5254976D57}" dt="2022-03-21T21:01:06.360" v="968" actId="47"/>
        <pc:sldMkLst>
          <pc:docMk/>
          <pc:sldMk cId="1340546130" sldId="342"/>
        </pc:sldMkLst>
      </pc:sldChg>
      <pc:sldChg chg="modSp add mod">
        <pc:chgData name="Helena Laasjärvi" userId="147922e0-9e4e-413c-924b-93f8f61c2127" providerId="ADAL" clId="{F8FDA4B5-F6D4-4DE5-BB84-1D5254976D57}" dt="2022-03-21T20:35:15.328" v="432" actId="207"/>
        <pc:sldMkLst>
          <pc:docMk/>
          <pc:sldMk cId="3675680812" sldId="343"/>
        </pc:sldMkLst>
        <pc:spChg chg="mod">
          <ac:chgData name="Helena Laasjärvi" userId="147922e0-9e4e-413c-924b-93f8f61c2127" providerId="ADAL" clId="{F8FDA4B5-F6D4-4DE5-BB84-1D5254976D57}" dt="2022-03-21T20:33:07.774" v="412" actId="948"/>
          <ac:spMkLst>
            <pc:docMk/>
            <pc:sldMk cId="3675680812" sldId="343"/>
            <ac:spMk id="2" creationId="{00000000-0000-0000-0000-000000000000}"/>
          </ac:spMkLst>
        </pc:spChg>
        <pc:grpChg chg="mod">
          <ac:chgData name="Helena Laasjärvi" userId="147922e0-9e4e-413c-924b-93f8f61c2127" providerId="ADAL" clId="{F8FDA4B5-F6D4-4DE5-BB84-1D5254976D57}" dt="2022-03-21T20:32:47.804" v="406"/>
          <ac:grpSpMkLst>
            <pc:docMk/>
            <pc:sldMk cId="3675680812" sldId="343"/>
            <ac:grpSpMk id="1" creationId="{00000000-0000-0000-0000-000000000000}"/>
          </ac:grpSpMkLst>
        </pc:grpChg>
        <pc:graphicFrameChg chg="mod">
          <ac:chgData name="Helena Laasjärvi" userId="147922e0-9e4e-413c-924b-93f8f61c2127" providerId="ADAL" clId="{F8FDA4B5-F6D4-4DE5-BB84-1D5254976D57}" dt="2022-03-21T20:33:07.789" v="414"/>
          <ac:graphicFrameMkLst>
            <pc:docMk/>
            <pc:sldMk cId="3675680812" sldId="343"/>
            <ac:graphicFrameMk id="6" creationId="{E1BF22A5-5A57-4AF6-B247-2D8B493D9B63}"/>
          </ac:graphicFrameMkLst>
        </pc:graphicFrameChg>
        <pc:graphicFrameChg chg="mod">
          <ac:chgData name="Helena Laasjärvi" userId="147922e0-9e4e-413c-924b-93f8f61c2127" providerId="ADAL" clId="{F8FDA4B5-F6D4-4DE5-BB84-1D5254976D57}" dt="2022-03-21T20:35:15.328" v="432" actId="207"/>
          <ac:graphicFrameMkLst>
            <pc:docMk/>
            <pc:sldMk cId="3675680812" sldId="343"/>
            <ac:graphicFrameMk id="8" creationId="{311B8604-8FEE-42BB-AF19-CDBE2DDB3F11}"/>
          </ac:graphicFrameMkLst>
        </pc:graphicFrameChg>
        <pc:picChg chg="mod">
          <ac:chgData name="Helena Laasjärvi" userId="147922e0-9e4e-413c-924b-93f8f61c2127" providerId="ADAL" clId="{F8FDA4B5-F6D4-4DE5-BB84-1D5254976D57}" dt="2022-03-21T20:32:47.804" v="406"/>
          <ac:picMkLst>
            <pc:docMk/>
            <pc:sldMk cId="3675680812" sldId="343"/>
            <ac:picMk id="4" creationId="{CF47ABF3-D808-437C-99C9-B7CE14174BFD}"/>
          </ac:picMkLst>
        </pc:picChg>
      </pc:sldChg>
      <pc:sldChg chg="addSp delSp modSp add mod">
        <pc:chgData name="Helena Laasjärvi" userId="147922e0-9e4e-413c-924b-93f8f61c2127" providerId="ADAL" clId="{F8FDA4B5-F6D4-4DE5-BB84-1D5254976D57}" dt="2022-03-21T20:46:29.618" v="624" actId="1076"/>
        <pc:sldMkLst>
          <pc:docMk/>
          <pc:sldMk cId="2658458365" sldId="344"/>
        </pc:sldMkLst>
        <pc:spChg chg="mod">
          <ac:chgData name="Helena Laasjärvi" userId="147922e0-9e4e-413c-924b-93f8f61c2127" providerId="ADAL" clId="{F8FDA4B5-F6D4-4DE5-BB84-1D5254976D57}" dt="2022-03-21T20:43:15.330" v="550" actId="948"/>
          <ac:spMkLst>
            <pc:docMk/>
            <pc:sldMk cId="2658458365" sldId="344"/>
            <ac:spMk id="2" creationId="{00000000-0000-0000-0000-000000000000}"/>
          </ac:spMkLst>
        </pc:spChg>
        <pc:spChg chg="add del mod modVis">
          <ac:chgData name="Helena Laasjärvi" userId="147922e0-9e4e-413c-924b-93f8f61c2127" providerId="ADAL" clId="{F8FDA4B5-F6D4-4DE5-BB84-1D5254976D57}" dt="2022-03-21T20:43:15.393" v="589"/>
          <ac:spMkLst>
            <pc:docMk/>
            <pc:sldMk cId="2658458365" sldId="344"/>
            <ac:spMk id="4" creationId="{85A5DB66-7432-4042-985E-43022DCF5E51}"/>
          </ac:spMkLst>
        </pc:spChg>
        <pc:spChg chg="mod">
          <ac:chgData name="Helena Laasjärvi" userId="147922e0-9e4e-413c-924b-93f8f61c2127" providerId="ADAL" clId="{F8FDA4B5-F6D4-4DE5-BB84-1D5254976D57}" dt="2022-03-21T20:43:07.979" v="548"/>
          <ac:spMkLst>
            <pc:docMk/>
            <pc:sldMk cId="2658458365" sldId="344"/>
            <ac:spMk id="19" creationId="{3B5A2344-B829-41B0-9138-10FB1EE5FD99}"/>
          </ac:spMkLst>
        </pc:spChg>
        <pc:spChg chg="mod">
          <ac:chgData name="Helena Laasjärvi" userId="147922e0-9e4e-413c-924b-93f8f61c2127" providerId="ADAL" clId="{F8FDA4B5-F6D4-4DE5-BB84-1D5254976D57}" dt="2022-03-21T20:43:40.392" v="592"/>
          <ac:spMkLst>
            <pc:docMk/>
            <pc:sldMk cId="2658458365" sldId="344"/>
            <ac:spMk id="20" creationId="{33F42C49-B5C3-48EE-9E77-398558F8C768}"/>
          </ac:spMkLst>
        </pc:spChg>
        <pc:spChg chg="mod">
          <ac:chgData name="Helena Laasjärvi" userId="147922e0-9e4e-413c-924b-93f8f61c2127" providerId="ADAL" clId="{F8FDA4B5-F6D4-4DE5-BB84-1D5254976D57}" dt="2022-03-21T20:43:52.401" v="594"/>
          <ac:spMkLst>
            <pc:docMk/>
            <pc:sldMk cId="2658458365" sldId="344"/>
            <ac:spMk id="22" creationId="{E61D0D1F-4563-4F31-AE6F-9B12918D8D88}"/>
          </ac:spMkLst>
        </pc:spChg>
        <pc:spChg chg="mod">
          <ac:chgData name="Helena Laasjärvi" userId="147922e0-9e4e-413c-924b-93f8f61c2127" providerId="ADAL" clId="{F8FDA4B5-F6D4-4DE5-BB84-1D5254976D57}" dt="2022-03-21T20:44:28.444" v="600"/>
          <ac:spMkLst>
            <pc:docMk/>
            <pc:sldMk cId="2658458365" sldId="344"/>
            <ac:spMk id="23" creationId="{60FF6A9A-8061-45D4-8029-E78BFE22F86C}"/>
          </ac:spMkLst>
        </pc:spChg>
        <pc:spChg chg="mod">
          <ac:chgData name="Helena Laasjärvi" userId="147922e0-9e4e-413c-924b-93f8f61c2127" providerId="ADAL" clId="{F8FDA4B5-F6D4-4DE5-BB84-1D5254976D57}" dt="2022-03-21T20:43:07.979" v="548"/>
          <ac:spMkLst>
            <pc:docMk/>
            <pc:sldMk cId="2658458365" sldId="344"/>
            <ac:spMk id="42" creationId="{3566DCCF-996E-4171-8BB0-845E0B1461E0}"/>
          </ac:spMkLst>
        </pc:spChg>
        <pc:spChg chg="mod">
          <ac:chgData name="Helena Laasjärvi" userId="147922e0-9e4e-413c-924b-93f8f61c2127" providerId="ADAL" clId="{F8FDA4B5-F6D4-4DE5-BB84-1D5254976D57}" dt="2022-03-21T20:44:43.068" v="603"/>
          <ac:spMkLst>
            <pc:docMk/>
            <pc:sldMk cId="2658458365" sldId="344"/>
            <ac:spMk id="43" creationId="{052CFC5D-7C35-4A9D-8167-D889B8B50107}"/>
          </ac:spMkLst>
        </pc:spChg>
        <pc:spChg chg="mod">
          <ac:chgData name="Helena Laasjärvi" userId="147922e0-9e4e-413c-924b-93f8f61c2127" providerId="ADAL" clId="{F8FDA4B5-F6D4-4DE5-BB84-1D5254976D57}" dt="2022-03-21T20:43:07.979" v="548"/>
          <ac:spMkLst>
            <pc:docMk/>
            <pc:sldMk cId="2658458365" sldId="344"/>
            <ac:spMk id="56" creationId="{29918849-D9D1-4871-8E5F-C56E44D186AC}"/>
          </ac:spMkLst>
        </pc:spChg>
        <pc:spChg chg="mod">
          <ac:chgData name="Helena Laasjärvi" userId="147922e0-9e4e-413c-924b-93f8f61c2127" providerId="ADAL" clId="{F8FDA4B5-F6D4-4DE5-BB84-1D5254976D57}" dt="2022-03-21T20:44:57.005" v="605"/>
          <ac:spMkLst>
            <pc:docMk/>
            <pc:sldMk cId="2658458365" sldId="344"/>
            <ac:spMk id="57" creationId="{0C29839A-CD2D-4507-9DE6-AF52D4D95B3F}"/>
          </ac:spMkLst>
        </pc:spChg>
        <pc:spChg chg="mod">
          <ac:chgData name="Helena Laasjärvi" userId="147922e0-9e4e-413c-924b-93f8f61c2127" providerId="ADAL" clId="{F8FDA4B5-F6D4-4DE5-BB84-1D5254976D57}" dt="2022-03-21T20:45:18.559" v="611" actId="1076"/>
          <ac:spMkLst>
            <pc:docMk/>
            <pc:sldMk cId="2658458365" sldId="344"/>
            <ac:spMk id="59" creationId="{5097E19F-BE3C-454D-A13D-A491EE16E6F0}"/>
          </ac:spMkLst>
        </pc:spChg>
        <pc:spChg chg="mod">
          <ac:chgData name="Helena Laasjärvi" userId="147922e0-9e4e-413c-924b-93f8f61c2127" providerId="ADAL" clId="{F8FDA4B5-F6D4-4DE5-BB84-1D5254976D57}" dt="2022-03-21T20:45:09.710" v="607"/>
          <ac:spMkLst>
            <pc:docMk/>
            <pc:sldMk cId="2658458365" sldId="344"/>
            <ac:spMk id="60" creationId="{BFDA93DE-549B-4054-BF80-9D6129757F40}"/>
          </ac:spMkLst>
        </pc:spChg>
        <pc:spChg chg="mod">
          <ac:chgData name="Helena Laasjärvi" userId="147922e0-9e4e-413c-924b-93f8f61c2127" providerId="ADAL" clId="{F8FDA4B5-F6D4-4DE5-BB84-1D5254976D57}" dt="2022-03-21T20:43:07.979" v="548"/>
          <ac:spMkLst>
            <pc:docMk/>
            <pc:sldMk cId="2658458365" sldId="344"/>
            <ac:spMk id="62" creationId="{A0648C33-DB63-46EE-B0EC-391C334F958E}"/>
          </ac:spMkLst>
        </pc:spChg>
        <pc:spChg chg="mod">
          <ac:chgData name="Helena Laasjärvi" userId="147922e0-9e4e-413c-924b-93f8f61c2127" providerId="ADAL" clId="{F8FDA4B5-F6D4-4DE5-BB84-1D5254976D57}" dt="2022-03-21T20:46:29.618" v="624" actId="1076"/>
          <ac:spMkLst>
            <pc:docMk/>
            <pc:sldMk cId="2658458365" sldId="344"/>
            <ac:spMk id="63" creationId="{2EA052F7-9136-4B0C-BFED-128ADD090E40}"/>
          </ac:spMkLst>
        </pc:spChg>
        <pc:grpChg chg="mod">
          <ac:chgData name="Helena Laasjärvi" userId="147922e0-9e4e-413c-924b-93f8f61c2127" providerId="ADAL" clId="{F8FDA4B5-F6D4-4DE5-BB84-1D5254976D57}" dt="2022-03-21T20:43:07.979" v="548"/>
          <ac:grpSpMkLst>
            <pc:docMk/>
            <pc:sldMk cId="2658458365" sldId="344"/>
            <ac:grpSpMk id="1" creationId="{00000000-0000-0000-0000-000000000000}"/>
          </ac:grpSpMkLst>
        </pc:grpChg>
        <pc:grpChg chg="del mod">
          <ac:chgData name="Helena Laasjärvi" userId="147922e0-9e4e-413c-924b-93f8f61c2127" providerId="ADAL" clId="{F8FDA4B5-F6D4-4DE5-BB84-1D5254976D57}" dt="2022-03-21T20:43:44.053" v="593" actId="478"/>
          <ac:grpSpMkLst>
            <pc:docMk/>
            <pc:sldMk cId="2658458365" sldId="344"/>
            <ac:grpSpMk id="18" creationId="{95BCAAE5-5C53-48E6-9FF6-4399AAABD4D1}"/>
          </ac:grpSpMkLst>
        </pc:grpChg>
        <pc:grpChg chg="add mod">
          <ac:chgData name="Helena Laasjärvi" userId="147922e0-9e4e-413c-924b-93f8f61c2127" providerId="ADAL" clId="{F8FDA4B5-F6D4-4DE5-BB84-1D5254976D57}" dt="2022-03-21T20:46:11.838" v="621" actId="14100"/>
          <ac:grpSpMkLst>
            <pc:docMk/>
            <pc:sldMk cId="2658458365" sldId="344"/>
            <ac:grpSpMk id="21" creationId="{2AFEECC1-D0CA-410A-8CBC-305B08D37181}"/>
          </ac:grpSpMkLst>
        </pc:grpChg>
        <pc:grpChg chg="mod">
          <ac:chgData name="Helena Laasjärvi" userId="147922e0-9e4e-413c-924b-93f8f61c2127" providerId="ADAL" clId="{F8FDA4B5-F6D4-4DE5-BB84-1D5254976D57}" dt="2022-03-21T20:45:59.565" v="619" actId="14100"/>
          <ac:grpSpMkLst>
            <pc:docMk/>
            <pc:sldMk cId="2658458365" sldId="344"/>
            <ac:grpSpMk id="41" creationId="{56BEE513-E2AE-4880-B09B-AC251138EA11}"/>
          </ac:grpSpMkLst>
        </pc:grpChg>
        <pc:grpChg chg="mod">
          <ac:chgData name="Helena Laasjärvi" userId="147922e0-9e4e-413c-924b-93f8f61c2127" providerId="ADAL" clId="{F8FDA4B5-F6D4-4DE5-BB84-1D5254976D57}" dt="2022-03-21T20:45:41.638" v="616" actId="1076"/>
          <ac:grpSpMkLst>
            <pc:docMk/>
            <pc:sldMk cId="2658458365" sldId="344"/>
            <ac:grpSpMk id="55" creationId="{DB276990-1DBD-4F7B-BAD8-02B75C18F2AB}"/>
          </ac:grpSpMkLst>
        </pc:grpChg>
        <pc:grpChg chg="del mod">
          <ac:chgData name="Helena Laasjärvi" userId="147922e0-9e4e-413c-924b-93f8f61c2127" providerId="ADAL" clId="{F8FDA4B5-F6D4-4DE5-BB84-1D5254976D57}" dt="2022-03-21T20:45:21.802" v="612" actId="478"/>
          <ac:grpSpMkLst>
            <pc:docMk/>
            <pc:sldMk cId="2658458365" sldId="344"/>
            <ac:grpSpMk id="58" creationId="{D6A8E6FF-842C-46AB-ACE7-F0591BD5AD2E}"/>
          </ac:grpSpMkLst>
        </pc:grpChg>
        <pc:grpChg chg="mod">
          <ac:chgData name="Helena Laasjärvi" userId="147922e0-9e4e-413c-924b-93f8f61c2127" providerId="ADAL" clId="{F8FDA4B5-F6D4-4DE5-BB84-1D5254976D57}" dt="2022-03-21T20:46:17.250" v="623" actId="14100"/>
          <ac:grpSpMkLst>
            <pc:docMk/>
            <pc:sldMk cId="2658458365" sldId="344"/>
            <ac:grpSpMk id="61" creationId="{AE39A476-2E17-40BC-84DD-9BBAA014B5C3}"/>
          </ac:grpSpMkLst>
        </pc:grpChg>
        <pc:graphicFrameChg chg="mod">
          <ac:chgData name="Helena Laasjärvi" userId="147922e0-9e4e-413c-924b-93f8f61c2127" providerId="ADAL" clId="{F8FDA4B5-F6D4-4DE5-BB84-1D5254976D57}" dt="2022-03-21T20:43:15.393" v="591"/>
          <ac:graphicFrameMkLst>
            <pc:docMk/>
            <pc:sldMk cId="2658458365" sldId="344"/>
            <ac:graphicFrameMk id="3" creationId="{E23B38B6-C474-4478-B461-DDE3DD760AB1}"/>
          </ac:graphicFrameMkLst>
        </pc:graphicFrameChg>
        <pc:picChg chg="mod">
          <ac:chgData name="Helena Laasjärvi" userId="147922e0-9e4e-413c-924b-93f8f61c2127" providerId="ADAL" clId="{F8FDA4B5-F6D4-4DE5-BB84-1D5254976D57}" dt="2022-03-21T20:44:16.506" v="599" actId="14100"/>
          <ac:picMkLst>
            <pc:docMk/>
            <pc:sldMk cId="2658458365" sldId="344"/>
            <ac:picMk id="5" creationId="{8FCC6E92-11BF-44FA-A81B-6B5F5BCC5EDD}"/>
          </ac:picMkLst>
        </pc:picChg>
      </pc:sldChg>
      <pc:sldChg chg="addSp delSp modSp add mod ord">
        <pc:chgData name="Helena Laasjärvi" userId="147922e0-9e4e-413c-924b-93f8f61c2127" providerId="ADAL" clId="{F8FDA4B5-F6D4-4DE5-BB84-1D5254976D57}" dt="2022-03-21T20:49:56.643" v="826" actId="1076"/>
        <pc:sldMkLst>
          <pc:docMk/>
          <pc:sldMk cId="4035016516" sldId="345"/>
        </pc:sldMkLst>
        <pc:spChg chg="mod">
          <ac:chgData name="Helena Laasjärvi" userId="147922e0-9e4e-413c-924b-93f8f61c2127" providerId="ADAL" clId="{F8FDA4B5-F6D4-4DE5-BB84-1D5254976D57}" dt="2022-03-21T20:49:56.643" v="826" actId="1076"/>
          <ac:spMkLst>
            <pc:docMk/>
            <pc:sldMk cId="4035016516" sldId="345"/>
            <ac:spMk id="10" creationId="{0AA9639B-B7E2-44C5-9CA4-50187E024E5F}"/>
          </ac:spMkLst>
        </pc:spChg>
        <pc:spChg chg="del">
          <ac:chgData name="Helena Laasjärvi" userId="147922e0-9e4e-413c-924b-93f8f61c2127" providerId="ADAL" clId="{F8FDA4B5-F6D4-4DE5-BB84-1D5254976D57}" dt="2022-03-21T20:49:37.734" v="821" actId="26606"/>
          <ac:spMkLst>
            <pc:docMk/>
            <pc:sldMk cId="4035016516" sldId="345"/>
            <ac:spMk id="15" creationId="{131BAD53-4E89-4F62-BBB7-26359763ED39}"/>
          </ac:spMkLst>
        </pc:spChg>
        <pc:spChg chg="del">
          <ac:chgData name="Helena Laasjärvi" userId="147922e0-9e4e-413c-924b-93f8f61c2127" providerId="ADAL" clId="{F8FDA4B5-F6D4-4DE5-BB84-1D5254976D57}" dt="2022-03-21T20:49:37.734" v="821" actId="26606"/>
          <ac:spMkLst>
            <pc:docMk/>
            <pc:sldMk cId="4035016516" sldId="345"/>
            <ac:spMk id="17" creationId="{62756DA2-40EB-4C6F-B962-5822FFB54FB6}"/>
          </ac:spMkLst>
        </pc:spChg>
        <pc:spChg chg="add">
          <ac:chgData name="Helena Laasjärvi" userId="147922e0-9e4e-413c-924b-93f8f61c2127" providerId="ADAL" clId="{F8FDA4B5-F6D4-4DE5-BB84-1D5254976D57}" dt="2022-03-21T20:49:37.734" v="821" actId="26606"/>
          <ac:spMkLst>
            <pc:docMk/>
            <pc:sldMk cId="4035016516" sldId="345"/>
            <ac:spMk id="22" creationId="{3C54F4CE-85F0-46ED-80DA-9518C9251AD1}"/>
          </ac:spMkLst>
        </pc:spChg>
        <pc:spChg chg="add">
          <ac:chgData name="Helena Laasjärvi" userId="147922e0-9e4e-413c-924b-93f8f61c2127" providerId="ADAL" clId="{F8FDA4B5-F6D4-4DE5-BB84-1D5254976D57}" dt="2022-03-21T20:49:37.734" v="821" actId="26606"/>
          <ac:spMkLst>
            <pc:docMk/>
            <pc:sldMk cId="4035016516" sldId="345"/>
            <ac:spMk id="24" creationId="{DADD1FCA-8ACB-4958-81DD-4CDD6D3E1921}"/>
          </ac:spMkLst>
        </pc:spChg>
        <pc:graphicFrameChg chg="del mod">
          <ac:chgData name="Helena Laasjärvi" userId="147922e0-9e4e-413c-924b-93f8f61c2127" providerId="ADAL" clId="{F8FDA4B5-F6D4-4DE5-BB84-1D5254976D57}" dt="2022-03-21T20:49:18.450" v="820" actId="478"/>
          <ac:graphicFrameMkLst>
            <pc:docMk/>
            <pc:sldMk cId="4035016516" sldId="345"/>
            <ac:graphicFrameMk id="8" creationId="{B936F7B1-E20A-3AF0-9D08-1FF576802789}"/>
          </ac:graphicFrameMkLst>
        </pc:graphicFrameChg>
        <pc:picChg chg="mod">
          <ac:chgData name="Helena Laasjärvi" userId="147922e0-9e4e-413c-924b-93f8f61c2127" providerId="ADAL" clId="{F8FDA4B5-F6D4-4DE5-BB84-1D5254976D57}" dt="2022-03-21T20:49:37.734" v="821" actId="26606"/>
          <ac:picMkLst>
            <pc:docMk/>
            <pc:sldMk cId="4035016516" sldId="345"/>
            <ac:picMk id="7" creationId="{88682EDC-89D4-4A9C-A2A6-BDAD52E6FF21}"/>
          </ac:picMkLst>
        </pc:picChg>
      </pc:sldChg>
      <pc:sldChg chg="addSp delSp modSp add mod ord">
        <pc:chgData name="Helena Laasjärvi" userId="147922e0-9e4e-413c-924b-93f8f61c2127" providerId="ADAL" clId="{F8FDA4B5-F6D4-4DE5-BB84-1D5254976D57}" dt="2022-03-21T20:53:10.839" v="892" actId="1076"/>
        <pc:sldMkLst>
          <pc:docMk/>
          <pc:sldMk cId="209444187" sldId="346"/>
        </pc:sldMkLst>
        <pc:spChg chg="mod">
          <ac:chgData name="Helena Laasjärvi" userId="147922e0-9e4e-413c-924b-93f8f61c2127" providerId="ADAL" clId="{F8FDA4B5-F6D4-4DE5-BB84-1D5254976D57}" dt="2022-03-21T20:50:34.775" v="833" actId="948"/>
          <ac:spMkLst>
            <pc:docMk/>
            <pc:sldMk cId="209444187" sldId="346"/>
            <ac:spMk id="2" creationId="{00000000-0000-0000-0000-000000000000}"/>
          </ac:spMkLst>
        </pc:spChg>
        <pc:spChg chg="add del mod modVis">
          <ac:chgData name="Helena Laasjärvi" userId="147922e0-9e4e-413c-924b-93f8f61c2127" providerId="ADAL" clId="{F8FDA4B5-F6D4-4DE5-BB84-1D5254976D57}" dt="2022-03-21T20:50:34.844" v="872"/>
          <ac:spMkLst>
            <pc:docMk/>
            <pc:sldMk cId="209444187" sldId="346"/>
            <ac:spMk id="3" creationId="{A93455A8-6529-48DF-BE8F-5564F0C78943}"/>
          </ac:spMkLst>
        </pc:spChg>
        <pc:grpChg chg="mod">
          <ac:chgData name="Helena Laasjärvi" userId="147922e0-9e4e-413c-924b-93f8f61c2127" providerId="ADAL" clId="{F8FDA4B5-F6D4-4DE5-BB84-1D5254976D57}" dt="2022-03-21T20:50:26.109" v="829"/>
          <ac:grpSpMkLst>
            <pc:docMk/>
            <pc:sldMk cId="209444187" sldId="346"/>
            <ac:grpSpMk id="1" creationId="{00000000-0000-0000-0000-000000000000}"/>
          </ac:grpSpMkLst>
        </pc:grpChg>
        <pc:graphicFrameChg chg="mod">
          <ac:chgData name="Helena Laasjärvi" userId="147922e0-9e4e-413c-924b-93f8f61c2127" providerId="ADAL" clId="{F8FDA4B5-F6D4-4DE5-BB84-1D5254976D57}" dt="2022-03-21T20:50:34.844" v="874"/>
          <ac:graphicFrameMkLst>
            <pc:docMk/>
            <pc:sldMk cId="209444187" sldId="346"/>
            <ac:graphicFrameMk id="6" creationId="{E1BF22A5-5A57-4AF6-B247-2D8B493D9B63}"/>
          </ac:graphicFrameMkLst>
        </pc:graphicFrameChg>
        <pc:graphicFrameChg chg="mod">
          <ac:chgData name="Helena Laasjärvi" userId="147922e0-9e4e-413c-924b-93f8f61c2127" providerId="ADAL" clId="{F8FDA4B5-F6D4-4DE5-BB84-1D5254976D57}" dt="2022-03-21T20:53:10.839" v="892" actId="1076"/>
          <ac:graphicFrameMkLst>
            <pc:docMk/>
            <pc:sldMk cId="209444187" sldId="346"/>
            <ac:graphicFrameMk id="8" creationId="{311B8604-8FEE-42BB-AF19-CDBE2DDB3F11}"/>
          </ac:graphicFrameMkLst>
        </pc:graphicFrameChg>
        <pc:picChg chg="mod">
          <ac:chgData name="Helena Laasjärvi" userId="147922e0-9e4e-413c-924b-93f8f61c2127" providerId="ADAL" clId="{F8FDA4B5-F6D4-4DE5-BB84-1D5254976D57}" dt="2022-03-21T20:50:26.109" v="829"/>
          <ac:picMkLst>
            <pc:docMk/>
            <pc:sldMk cId="209444187" sldId="346"/>
            <ac:picMk id="4" creationId="{CF47ABF3-D808-437C-99C9-B7CE14174BFD}"/>
          </ac:picMkLst>
        </pc:picChg>
      </pc:sldChg>
      <pc:sldChg chg="addSp delSp modSp add mod ord">
        <pc:chgData name="Helena Laasjärvi" userId="147922e0-9e4e-413c-924b-93f8f61c2127" providerId="ADAL" clId="{F8FDA4B5-F6D4-4DE5-BB84-1D5254976D57}" dt="2022-03-21T20:58:54.405" v="951" actId="14100"/>
        <pc:sldMkLst>
          <pc:docMk/>
          <pc:sldMk cId="3256550947" sldId="347"/>
        </pc:sldMkLst>
        <pc:spChg chg="del mod">
          <ac:chgData name="Helena Laasjärvi" userId="147922e0-9e4e-413c-924b-93f8f61c2127" providerId="ADAL" clId="{F8FDA4B5-F6D4-4DE5-BB84-1D5254976D57}" dt="2022-03-21T20:56:28.285" v="908" actId="478"/>
          <ac:spMkLst>
            <pc:docMk/>
            <pc:sldMk cId="3256550947" sldId="347"/>
            <ac:spMk id="2" creationId="{00000000-0000-0000-0000-000000000000}"/>
          </ac:spMkLst>
        </pc:spChg>
        <pc:spChg chg="add del mod">
          <ac:chgData name="Helena Laasjärvi" userId="147922e0-9e4e-413c-924b-93f8f61c2127" providerId="ADAL" clId="{F8FDA4B5-F6D4-4DE5-BB84-1D5254976D57}" dt="2022-03-21T20:56:30.317" v="911" actId="478"/>
          <ac:spMkLst>
            <pc:docMk/>
            <pc:sldMk cId="3256550947" sldId="347"/>
            <ac:spMk id="5" creationId="{A70C3277-8B98-4759-B377-A79405932A84}"/>
          </ac:spMkLst>
        </pc:spChg>
        <pc:grpChg chg="mod">
          <ac:chgData name="Helena Laasjärvi" userId="147922e0-9e4e-413c-924b-93f8f61c2127" providerId="ADAL" clId="{F8FDA4B5-F6D4-4DE5-BB84-1D5254976D57}" dt="2022-03-21T20:56:18.909" v="905"/>
          <ac:grpSpMkLst>
            <pc:docMk/>
            <pc:sldMk cId="3256550947" sldId="347"/>
            <ac:grpSpMk id="1" creationId="{00000000-0000-0000-0000-000000000000}"/>
          </ac:grpSpMkLst>
        </pc:grpChg>
        <pc:graphicFrameChg chg="mod">
          <ac:chgData name="Helena Laasjärvi" userId="147922e0-9e4e-413c-924b-93f8f61c2127" providerId="ADAL" clId="{F8FDA4B5-F6D4-4DE5-BB84-1D5254976D57}" dt="2022-03-21T20:56:30.834" v="913"/>
          <ac:graphicFrameMkLst>
            <pc:docMk/>
            <pc:sldMk cId="3256550947" sldId="347"/>
            <ac:graphicFrameMk id="6" creationId="{E1BF22A5-5A57-4AF6-B247-2D8B493D9B63}"/>
          </ac:graphicFrameMkLst>
        </pc:graphicFrameChg>
        <pc:graphicFrameChg chg="mod">
          <ac:chgData name="Helena Laasjärvi" userId="147922e0-9e4e-413c-924b-93f8f61c2127" providerId="ADAL" clId="{F8FDA4B5-F6D4-4DE5-BB84-1D5254976D57}" dt="2022-03-21T20:58:54.405" v="951" actId="14100"/>
          <ac:graphicFrameMkLst>
            <pc:docMk/>
            <pc:sldMk cId="3256550947" sldId="347"/>
            <ac:graphicFrameMk id="8" creationId="{311B8604-8FEE-42BB-AF19-CDBE2DDB3F11}"/>
          </ac:graphicFrameMkLst>
        </pc:graphicFrameChg>
        <pc:picChg chg="mod">
          <ac:chgData name="Helena Laasjärvi" userId="147922e0-9e4e-413c-924b-93f8f61c2127" providerId="ADAL" clId="{F8FDA4B5-F6D4-4DE5-BB84-1D5254976D57}" dt="2022-03-21T20:56:18.909" v="905"/>
          <ac:picMkLst>
            <pc:docMk/>
            <pc:sldMk cId="3256550947" sldId="347"/>
            <ac:picMk id="4" creationId="{CF47ABF3-D808-437C-99C9-B7CE14174BFD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DD9BEDF-B9E2-4ABA-A056-FFA32216D3C8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i-FI"/>
        </a:p>
      </dgm:t>
    </dgm:pt>
    <dgm:pt modelId="{FDB40630-942D-4475-833B-DC48C1B2AEF9}">
      <dgm:prSet custT="1"/>
      <dgm:spPr>
        <a:solidFill>
          <a:srgbClr val="F27CB1"/>
        </a:solidFill>
      </dgm:spPr>
      <dgm:t>
        <a:bodyPr/>
        <a:lstStyle/>
        <a:p>
          <a:r>
            <a:rPr lang="fi-FI" sz="2800" dirty="0"/>
            <a:t>Suvullisesti lisääntyvät eliöt tuottavat sukusoluja</a:t>
          </a:r>
        </a:p>
      </dgm:t>
    </dgm:pt>
    <dgm:pt modelId="{EB145E02-B538-4AA7-871E-FA081BB24459}" type="parTrans" cxnId="{23C85598-1ECE-4744-A81F-1D8281EE6A25}">
      <dgm:prSet/>
      <dgm:spPr/>
      <dgm:t>
        <a:bodyPr/>
        <a:lstStyle/>
        <a:p>
          <a:endParaRPr lang="fi-FI"/>
        </a:p>
      </dgm:t>
    </dgm:pt>
    <dgm:pt modelId="{0E1C6016-7DEB-4E2F-9797-C18C672777F4}" type="sibTrans" cxnId="{23C85598-1ECE-4744-A81F-1D8281EE6A25}">
      <dgm:prSet/>
      <dgm:spPr/>
      <dgm:t>
        <a:bodyPr/>
        <a:lstStyle/>
        <a:p>
          <a:endParaRPr lang="fi-FI"/>
        </a:p>
      </dgm:t>
    </dgm:pt>
    <dgm:pt modelId="{29914E1D-C159-4B9A-BAC9-DD8953E2BA69}">
      <dgm:prSet custT="1"/>
      <dgm:spPr>
        <a:solidFill>
          <a:srgbClr val="F27CB1"/>
        </a:solidFill>
      </dgm:spPr>
      <dgm:t>
        <a:bodyPr/>
        <a:lstStyle/>
        <a:p>
          <a:r>
            <a:rPr lang="fi-FI" sz="2800" dirty="0">
              <a:cs typeface="Calibri"/>
            </a:rPr>
            <a:t>Sukusolut syntyvät sukurauhasissa</a:t>
          </a:r>
          <a:endParaRPr lang="fi-FI" sz="2800" dirty="0"/>
        </a:p>
      </dgm:t>
    </dgm:pt>
    <dgm:pt modelId="{E440B468-F534-45EE-ACB1-8D368CC8DD8A}" type="parTrans" cxnId="{295E1F02-8433-466C-B3EA-69CC5E891355}">
      <dgm:prSet/>
      <dgm:spPr/>
      <dgm:t>
        <a:bodyPr/>
        <a:lstStyle/>
        <a:p>
          <a:endParaRPr lang="fi-FI"/>
        </a:p>
      </dgm:t>
    </dgm:pt>
    <dgm:pt modelId="{7F7E417E-0148-4C16-B2CC-7DD60AB944E6}" type="sibTrans" cxnId="{295E1F02-8433-466C-B3EA-69CC5E891355}">
      <dgm:prSet/>
      <dgm:spPr/>
      <dgm:t>
        <a:bodyPr/>
        <a:lstStyle/>
        <a:p>
          <a:endParaRPr lang="fi-FI"/>
        </a:p>
      </dgm:t>
    </dgm:pt>
    <dgm:pt modelId="{2BCE0DD6-16ED-4248-ADBA-CF613E8B098D}">
      <dgm:prSet custT="1"/>
      <dgm:spPr>
        <a:solidFill>
          <a:srgbClr val="F27CB1"/>
        </a:solidFill>
      </dgm:spPr>
      <dgm:t>
        <a:bodyPr/>
        <a:lstStyle/>
        <a:p>
          <a:pPr>
            <a:buFont typeface="Arial" charset="0"/>
            <a:buChar char="•"/>
          </a:pPr>
          <a:r>
            <a:rPr lang="fi-FI" sz="2800" dirty="0">
              <a:cs typeface="Calibri"/>
            </a:rPr>
            <a:t>Siittiöt ja munasolut, siemenkasveilla siitepöly ja munasolut</a:t>
          </a:r>
          <a:endParaRPr lang="fi-FI" sz="2800" dirty="0"/>
        </a:p>
      </dgm:t>
    </dgm:pt>
    <dgm:pt modelId="{6B64D883-727E-47B0-8962-7573D60E4DB5}" type="parTrans" cxnId="{7E20FCB5-19D6-45C9-B322-D97E3168A5F5}">
      <dgm:prSet/>
      <dgm:spPr/>
      <dgm:t>
        <a:bodyPr/>
        <a:lstStyle/>
        <a:p>
          <a:endParaRPr lang="fi-FI"/>
        </a:p>
      </dgm:t>
    </dgm:pt>
    <dgm:pt modelId="{F8F519D7-008E-446D-847B-CF8C3B0E2C62}" type="sibTrans" cxnId="{7E20FCB5-19D6-45C9-B322-D97E3168A5F5}">
      <dgm:prSet/>
      <dgm:spPr/>
      <dgm:t>
        <a:bodyPr/>
        <a:lstStyle/>
        <a:p>
          <a:endParaRPr lang="fi-FI"/>
        </a:p>
      </dgm:t>
    </dgm:pt>
    <dgm:pt modelId="{9B2ADCF9-8B16-455D-9A4E-6514FE73C4B4}">
      <dgm:prSet custT="1"/>
      <dgm:spPr>
        <a:solidFill>
          <a:srgbClr val="F27CB1"/>
        </a:solidFill>
      </dgm:spPr>
      <dgm:t>
        <a:bodyPr/>
        <a:lstStyle/>
        <a:p>
          <a:pPr>
            <a:buFont typeface="Arial" charset="0"/>
            <a:buChar char="•"/>
          </a:pPr>
          <a:r>
            <a:rPr lang="fi-FI" sz="2800" dirty="0"/>
            <a:t>Sukusolujen syntyyn johtavaa tumanjakautumista kutsutaan meioosiksi</a:t>
          </a:r>
        </a:p>
      </dgm:t>
    </dgm:pt>
    <dgm:pt modelId="{1C257780-D7FE-4ADB-8D03-BAE4DF553578}" type="parTrans" cxnId="{D9826436-83BD-46F0-BE4B-23D84D43C2CD}">
      <dgm:prSet/>
      <dgm:spPr/>
      <dgm:t>
        <a:bodyPr/>
        <a:lstStyle/>
        <a:p>
          <a:endParaRPr lang="fi-FI"/>
        </a:p>
      </dgm:t>
    </dgm:pt>
    <dgm:pt modelId="{4D151213-F0CF-4081-B0BA-BD0783E84E89}" type="sibTrans" cxnId="{D9826436-83BD-46F0-BE4B-23D84D43C2CD}">
      <dgm:prSet/>
      <dgm:spPr/>
      <dgm:t>
        <a:bodyPr/>
        <a:lstStyle/>
        <a:p>
          <a:endParaRPr lang="fi-FI"/>
        </a:p>
      </dgm:t>
    </dgm:pt>
    <dgm:pt modelId="{3EEAE257-28CD-41B4-8D9A-1499E3AE0551}">
      <dgm:prSet custT="1"/>
      <dgm:spPr>
        <a:solidFill>
          <a:srgbClr val="F27CB1"/>
        </a:solidFill>
      </dgm:spPr>
      <dgm:t>
        <a:bodyPr/>
        <a:lstStyle/>
        <a:p>
          <a:pPr>
            <a:buFont typeface="Arial" charset="0"/>
            <a:buChar char="•"/>
          </a:pPr>
          <a:r>
            <a:rPr lang="fi-FI" sz="2800"/>
            <a:t>Sukusolujen kromosomisto on yksinkertainen eli haploidinen</a:t>
          </a:r>
          <a:endParaRPr lang="fi-FI" sz="2800" dirty="0"/>
        </a:p>
      </dgm:t>
    </dgm:pt>
    <dgm:pt modelId="{FCBD28EE-6ABF-4BD3-AF0C-C9F2AD4E005A}" type="parTrans" cxnId="{04924F7F-7AAE-4DA1-9F8C-B937E1E2FD40}">
      <dgm:prSet/>
      <dgm:spPr/>
      <dgm:t>
        <a:bodyPr/>
        <a:lstStyle/>
        <a:p>
          <a:endParaRPr lang="fi-FI"/>
        </a:p>
      </dgm:t>
    </dgm:pt>
    <dgm:pt modelId="{D8870C7B-1F07-483C-97AC-1179BCC28F39}" type="sibTrans" cxnId="{04924F7F-7AAE-4DA1-9F8C-B937E1E2FD40}">
      <dgm:prSet/>
      <dgm:spPr/>
      <dgm:t>
        <a:bodyPr/>
        <a:lstStyle/>
        <a:p>
          <a:endParaRPr lang="fi-FI"/>
        </a:p>
      </dgm:t>
    </dgm:pt>
    <dgm:pt modelId="{2A2F781F-16C1-4D29-B08D-ACB557B90863}" type="pres">
      <dgm:prSet presAssocID="{2DD9BEDF-B9E2-4ABA-A056-FFA32216D3C8}" presName="linear" presStyleCnt="0">
        <dgm:presLayoutVars>
          <dgm:animLvl val="lvl"/>
          <dgm:resizeHandles val="exact"/>
        </dgm:presLayoutVars>
      </dgm:prSet>
      <dgm:spPr/>
    </dgm:pt>
    <dgm:pt modelId="{A033DC3D-C63F-43D1-8859-07FC97577F71}" type="pres">
      <dgm:prSet presAssocID="{FDB40630-942D-4475-833B-DC48C1B2AEF9}" presName="parentText" presStyleLbl="node1" presStyleIdx="0" presStyleCnt="5">
        <dgm:presLayoutVars>
          <dgm:chMax val="0"/>
          <dgm:bulletEnabled val="1"/>
        </dgm:presLayoutVars>
      </dgm:prSet>
      <dgm:spPr/>
    </dgm:pt>
    <dgm:pt modelId="{4D5486F3-260E-4982-840C-D7BE98C81631}" type="pres">
      <dgm:prSet presAssocID="{0E1C6016-7DEB-4E2F-9797-C18C672777F4}" presName="spacer" presStyleCnt="0"/>
      <dgm:spPr/>
    </dgm:pt>
    <dgm:pt modelId="{DCC5FB86-1936-400D-B1D5-1AACF01901D7}" type="pres">
      <dgm:prSet presAssocID="{29914E1D-C159-4B9A-BAC9-DD8953E2BA69}" presName="parentText" presStyleLbl="node1" presStyleIdx="1" presStyleCnt="5">
        <dgm:presLayoutVars>
          <dgm:chMax val="0"/>
          <dgm:bulletEnabled val="1"/>
        </dgm:presLayoutVars>
      </dgm:prSet>
      <dgm:spPr/>
    </dgm:pt>
    <dgm:pt modelId="{31D44E5D-B370-4DD1-9296-CACE133496CC}" type="pres">
      <dgm:prSet presAssocID="{7F7E417E-0148-4C16-B2CC-7DD60AB944E6}" presName="spacer" presStyleCnt="0"/>
      <dgm:spPr/>
    </dgm:pt>
    <dgm:pt modelId="{BF0E073F-8C4E-4D65-A58F-5B2B4499510F}" type="pres">
      <dgm:prSet presAssocID="{2BCE0DD6-16ED-4248-ADBA-CF613E8B098D}" presName="parentText" presStyleLbl="node1" presStyleIdx="2" presStyleCnt="5">
        <dgm:presLayoutVars>
          <dgm:chMax val="0"/>
          <dgm:bulletEnabled val="1"/>
        </dgm:presLayoutVars>
      </dgm:prSet>
      <dgm:spPr/>
    </dgm:pt>
    <dgm:pt modelId="{133B2946-B294-4322-B5F1-AE9950EADA4F}" type="pres">
      <dgm:prSet presAssocID="{F8F519D7-008E-446D-847B-CF8C3B0E2C62}" presName="spacer" presStyleCnt="0"/>
      <dgm:spPr/>
    </dgm:pt>
    <dgm:pt modelId="{16CCDA81-F57B-4812-BBF1-7B588E1E309B}" type="pres">
      <dgm:prSet presAssocID="{9B2ADCF9-8B16-455D-9A4E-6514FE73C4B4}" presName="parentText" presStyleLbl="node1" presStyleIdx="3" presStyleCnt="5">
        <dgm:presLayoutVars>
          <dgm:chMax val="0"/>
          <dgm:bulletEnabled val="1"/>
        </dgm:presLayoutVars>
      </dgm:prSet>
      <dgm:spPr/>
    </dgm:pt>
    <dgm:pt modelId="{C205B9F8-1315-4ECA-83A0-23DB0FE3236C}" type="pres">
      <dgm:prSet presAssocID="{4D151213-F0CF-4081-B0BA-BD0783E84E89}" presName="spacer" presStyleCnt="0"/>
      <dgm:spPr/>
    </dgm:pt>
    <dgm:pt modelId="{3C0AAD75-8B4D-460B-AD37-69EB86021A49}" type="pres">
      <dgm:prSet presAssocID="{3EEAE257-28CD-41B4-8D9A-1499E3AE0551}" presName="parentText" presStyleLbl="node1" presStyleIdx="4" presStyleCnt="5">
        <dgm:presLayoutVars>
          <dgm:chMax val="0"/>
          <dgm:bulletEnabled val="1"/>
        </dgm:presLayoutVars>
      </dgm:prSet>
      <dgm:spPr/>
    </dgm:pt>
  </dgm:ptLst>
  <dgm:cxnLst>
    <dgm:cxn modelId="{295E1F02-8433-466C-B3EA-69CC5E891355}" srcId="{2DD9BEDF-B9E2-4ABA-A056-FFA32216D3C8}" destId="{29914E1D-C159-4B9A-BAC9-DD8953E2BA69}" srcOrd="1" destOrd="0" parTransId="{E440B468-F534-45EE-ACB1-8D368CC8DD8A}" sibTransId="{7F7E417E-0148-4C16-B2CC-7DD60AB944E6}"/>
    <dgm:cxn modelId="{EE7E8722-F2F6-44B1-A79B-A4B007A23AD0}" type="presOf" srcId="{2BCE0DD6-16ED-4248-ADBA-CF613E8B098D}" destId="{BF0E073F-8C4E-4D65-A58F-5B2B4499510F}" srcOrd="0" destOrd="0" presId="urn:microsoft.com/office/officeart/2005/8/layout/vList2"/>
    <dgm:cxn modelId="{D9826436-83BD-46F0-BE4B-23D84D43C2CD}" srcId="{2DD9BEDF-B9E2-4ABA-A056-FFA32216D3C8}" destId="{9B2ADCF9-8B16-455D-9A4E-6514FE73C4B4}" srcOrd="3" destOrd="0" parTransId="{1C257780-D7FE-4ADB-8D03-BAE4DF553578}" sibTransId="{4D151213-F0CF-4081-B0BA-BD0783E84E89}"/>
    <dgm:cxn modelId="{0729F672-4139-46B5-966C-4A1109AF070C}" type="presOf" srcId="{3EEAE257-28CD-41B4-8D9A-1499E3AE0551}" destId="{3C0AAD75-8B4D-460B-AD37-69EB86021A49}" srcOrd="0" destOrd="0" presId="urn:microsoft.com/office/officeart/2005/8/layout/vList2"/>
    <dgm:cxn modelId="{04924F7F-7AAE-4DA1-9F8C-B937E1E2FD40}" srcId="{2DD9BEDF-B9E2-4ABA-A056-FFA32216D3C8}" destId="{3EEAE257-28CD-41B4-8D9A-1499E3AE0551}" srcOrd="4" destOrd="0" parTransId="{FCBD28EE-6ABF-4BD3-AF0C-C9F2AD4E005A}" sibTransId="{D8870C7B-1F07-483C-97AC-1179BCC28F39}"/>
    <dgm:cxn modelId="{23C85598-1ECE-4744-A81F-1D8281EE6A25}" srcId="{2DD9BEDF-B9E2-4ABA-A056-FFA32216D3C8}" destId="{FDB40630-942D-4475-833B-DC48C1B2AEF9}" srcOrd="0" destOrd="0" parTransId="{EB145E02-B538-4AA7-871E-FA081BB24459}" sibTransId="{0E1C6016-7DEB-4E2F-9797-C18C672777F4}"/>
    <dgm:cxn modelId="{C4AEBAA7-E847-4C0B-9503-134CDB333C6C}" type="presOf" srcId="{9B2ADCF9-8B16-455D-9A4E-6514FE73C4B4}" destId="{16CCDA81-F57B-4812-BBF1-7B588E1E309B}" srcOrd="0" destOrd="0" presId="urn:microsoft.com/office/officeart/2005/8/layout/vList2"/>
    <dgm:cxn modelId="{90BED6AB-2622-4A47-8DD0-AEDA6876D029}" type="presOf" srcId="{FDB40630-942D-4475-833B-DC48C1B2AEF9}" destId="{A033DC3D-C63F-43D1-8859-07FC97577F71}" srcOrd="0" destOrd="0" presId="urn:microsoft.com/office/officeart/2005/8/layout/vList2"/>
    <dgm:cxn modelId="{7E20FCB5-19D6-45C9-B322-D97E3168A5F5}" srcId="{2DD9BEDF-B9E2-4ABA-A056-FFA32216D3C8}" destId="{2BCE0DD6-16ED-4248-ADBA-CF613E8B098D}" srcOrd="2" destOrd="0" parTransId="{6B64D883-727E-47B0-8962-7573D60E4DB5}" sibTransId="{F8F519D7-008E-446D-847B-CF8C3B0E2C62}"/>
    <dgm:cxn modelId="{80B36DC0-A1CA-42E5-B78A-79BFF3C79841}" type="presOf" srcId="{2DD9BEDF-B9E2-4ABA-A056-FFA32216D3C8}" destId="{2A2F781F-16C1-4D29-B08D-ACB557B90863}" srcOrd="0" destOrd="0" presId="urn:microsoft.com/office/officeart/2005/8/layout/vList2"/>
    <dgm:cxn modelId="{25CDE6D1-D842-4277-931E-49BCCDC10B4C}" type="presOf" srcId="{29914E1D-C159-4B9A-BAC9-DD8953E2BA69}" destId="{DCC5FB86-1936-400D-B1D5-1AACF01901D7}" srcOrd="0" destOrd="0" presId="urn:microsoft.com/office/officeart/2005/8/layout/vList2"/>
    <dgm:cxn modelId="{D71AE3A6-9161-4990-8BB5-0D4ADB2D81C5}" type="presParOf" srcId="{2A2F781F-16C1-4D29-B08D-ACB557B90863}" destId="{A033DC3D-C63F-43D1-8859-07FC97577F71}" srcOrd="0" destOrd="0" presId="urn:microsoft.com/office/officeart/2005/8/layout/vList2"/>
    <dgm:cxn modelId="{5F7A5906-3604-4227-8236-59027070F132}" type="presParOf" srcId="{2A2F781F-16C1-4D29-B08D-ACB557B90863}" destId="{4D5486F3-260E-4982-840C-D7BE98C81631}" srcOrd="1" destOrd="0" presId="urn:microsoft.com/office/officeart/2005/8/layout/vList2"/>
    <dgm:cxn modelId="{AE1FF39F-434A-4864-84F4-5965425B8D39}" type="presParOf" srcId="{2A2F781F-16C1-4D29-B08D-ACB557B90863}" destId="{DCC5FB86-1936-400D-B1D5-1AACF01901D7}" srcOrd="2" destOrd="0" presId="urn:microsoft.com/office/officeart/2005/8/layout/vList2"/>
    <dgm:cxn modelId="{9C3A129A-629B-4449-9377-07E465734F4F}" type="presParOf" srcId="{2A2F781F-16C1-4D29-B08D-ACB557B90863}" destId="{31D44E5D-B370-4DD1-9296-CACE133496CC}" srcOrd="3" destOrd="0" presId="urn:microsoft.com/office/officeart/2005/8/layout/vList2"/>
    <dgm:cxn modelId="{79AF65B7-568A-4FD7-8747-CA8927243F7E}" type="presParOf" srcId="{2A2F781F-16C1-4D29-B08D-ACB557B90863}" destId="{BF0E073F-8C4E-4D65-A58F-5B2B4499510F}" srcOrd="4" destOrd="0" presId="urn:microsoft.com/office/officeart/2005/8/layout/vList2"/>
    <dgm:cxn modelId="{91346AEC-F7F4-4A41-BDED-1432159A0CB4}" type="presParOf" srcId="{2A2F781F-16C1-4D29-B08D-ACB557B90863}" destId="{133B2946-B294-4322-B5F1-AE9950EADA4F}" srcOrd="5" destOrd="0" presId="urn:microsoft.com/office/officeart/2005/8/layout/vList2"/>
    <dgm:cxn modelId="{721AC973-E4C5-4466-9F8B-D6FDC004DBC0}" type="presParOf" srcId="{2A2F781F-16C1-4D29-B08D-ACB557B90863}" destId="{16CCDA81-F57B-4812-BBF1-7B588E1E309B}" srcOrd="6" destOrd="0" presId="urn:microsoft.com/office/officeart/2005/8/layout/vList2"/>
    <dgm:cxn modelId="{67340535-AC9A-4163-91A6-8A25924B6124}" type="presParOf" srcId="{2A2F781F-16C1-4D29-B08D-ACB557B90863}" destId="{C205B9F8-1315-4ECA-83A0-23DB0FE3236C}" srcOrd="7" destOrd="0" presId="urn:microsoft.com/office/officeart/2005/8/layout/vList2"/>
    <dgm:cxn modelId="{C80CDB9E-76B1-42A9-9093-7C8C384105A4}" type="presParOf" srcId="{2A2F781F-16C1-4D29-B08D-ACB557B90863}" destId="{3C0AAD75-8B4D-460B-AD37-69EB86021A49}" srcOrd="8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DD9BEDF-B9E2-4ABA-A056-FFA32216D3C8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i-FI"/>
        </a:p>
      </dgm:t>
    </dgm:pt>
    <dgm:pt modelId="{6191DB02-BDC9-4F40-9296-F0AD3BB2C6D9}">
      <dgm:prSet/>
      <dgm:spPr>
        <a:solidFill>
          <a:srgbClr val="EC008C"/>
        </a:solidFill>
      </dgm:spPr>
      <dgm:t>
        <a:bodyPr/>
        <a:lstStyle/>
        <a:p>
          <a:r>
            <a:rPr lang="fi-FI" dirty="0"/>
            <a:t>Kullakin lajilla on sille ominainen määrä kromosomeja</a:t>
          </a:r>
        </a:p>
      </dgm:t>
    </dgm:pt>
    <dgm:pt modelId="{2828203E-282B-464C-8C5D-521B0A0FF0EB}" type="parTrans" cxnId="{705C8768-1311-4EE0-90C6-BD7623FA6E23}">
      <dgm:prSet/>
      <dgm:spPr/>
      <dgm:t>
        <a:bodyPr/>
        <a:lstStyle/>
        <a:p>
          <a:endParaRPr lang="fi-FI"/>
        </a:p>
      </dgm:t>
    </dgm:pt>
    <dgm:pt modelId="{196BF26C-3554-42C7-B0EA-C5D0A1084313}" type="sibTrans" cxnId="{705C8768-1311-4EE0-90C6-BD7623FA6E23}">
      <dgm:prSet/>
      <dgm:spPr/>
      <dgm:t>
        <a:bodyPr/>
        <a:lstStyle/>
        <a:p>
          <a:endParaRPr lang="fi-FI"/>
        </a:p>
      </dgm:t>
    </dgm:pt>
    <dgm:pt modelId="{6BD1D2DF-2A2F-4B17-8F34-5D6CBBF0EB5C}">
      <dgm:prSet/>
      <dgm:spPr/>
      <dgm:t>
        <a:bodyPr/>
        <a:lstStyle/>
        <a:p>
          <a:r>
            <a:rPr lang="fi-FI" dirty="0"/>
            <a:t>Ihmisellä kromosomeja on 46</a:t>
          </a:r>
        </a:p>
      </dgm:t>
    </dgm:pt>
    <dgm:pt modelId="{98CADC32-B1DC-4B93-BC46-D55E7A630505}" type="parTrans" cxnId="{A607AA68-7F19-4F79-A856-AD6AC586DB18}">
      <dgm:prSet/>
      <dgm:spPr/>
      <dgm:t>
        <a:bodyPr/>
        <a:lstStyle/>
        <a:p>
          <a:endParaRPr lang="fi-FI"/>
        </a:p>
      </dgm:t>
    </dgm:pt>
    <dgm:pt modelId="{7878CFB9-3543-4E6E-9E7F-8EAA0DB31EE3}" type="sibTrans" cxnId="{A607AA68-7F19-4F79-A856-AD6AC586DB18}">
      <dgm:prSet/>
      <dgm:spPr/>
      <dgm:t>
        <a:bodyPr/>
        <a:lstStyle/>
        <a:p>
          <a:endParaRPr lang="fi-FI"/>
        </a:p>
      </dgm:t>
    </dgm:pt>
    <dgm:pt modelId="{FDDAD744-75E2-48EC-9072-1270246F6EB9}">
      <dgm:prSet/>
      <dgm:spPr>
        <a:solidFill>
          <a:srgbClr val="F27CB1"/>
        </a:solidFill>
      </dgm:spPr>
      <dgm:t>
        <a:bodyPr/>
        <a:lstStyle/>
        <a:p>
          <a:r>
            <a:rPr lang="fi-FI" dirty="0"/>
            <a:t>Ihmisen kromosomeista puolet on peräisin isän sukusolusta (23) ja puolet äidin sukusolusta (23)</a:t>
          </a:r>
        </a:p>
      </dgm:t>
    </dgm:pt>
    <dgm:pt modelId="{16E036DF-4B47-4020-8E5C-580093FF8094}" type="parTrans" cxnId="{830C0BD5-0D11-4FD7-9B2D-89244750F12A}">
      <dgm:prSet/>
      <dgm:spPr/>
      <dgm:t>
        <a:bodyPr/>
        <a:lstStyle/>
        <a:p>
          <a:endParaRPr lang="fi-FI"/>
        </a:p>
      </dgm:t>
    </dgm:pt>
    <dgm:pt modelId="{96BC85D9-A93A-49D1-BA65-70053D2CC89F}" type="sibTrans" cxnId="{830C0BD5-0D11-4FD7-9B2D-89244750F12A}">
      <dgm:prSet/>
      <dgm:spPr/>
      <dgm:t>
        <a:bodyPr/>
        <a:lstStyle/>
        <a:p>
          <a:endParaRPr lang="fi-FI"/>
        </a:p>
      </dgm:t>
    </dgm:pt>
    <dgm:pt modelId="{3CA9C089-352D-41A0-AFF3-3430A6040091}">
      <dgm:prSet/>
      <dgm:spPr/>
      <dgm:t>
        <a:bodyPr/>
        <a:lstStyle/>
        <a:p>
          <a:r>
            <a:rPr lang="fi-FI" dirty="0"/>
            <a:t>sukusolujen kromosomisto on ns. peruskromosomisto eli haploidinen kromosomisto (n)</a:t>
          </a:r>
        </a:p>
      </dgm:t>
    </dgm:pt>
    <dgm:pt modelId="{D3CC625F-4BC0-4939-8381-6DE40298A0C7}" type="parTrans" cxnId="{DACC5D88-CD5F-435C-A8FE-F675FF224EC6}">
      <dgm:prSet/>
      <dgm:spPr/>
      <dgm:t>
        <a:bodyPr/>
        <a:lstStyle/>
        <a:p>
          <a:endParaRPr lang="fi-FI"/>
        </a:p>
      </dgm:t>
    </dgm:pt>
    <dgm:pt modelId="{4B6CB8F1-A166-43CE-BC83-30B05FA86930}" type="sibTrans" cxnId="{DACC5D88-CD5F-435C-A8FE-F675FF224EC6}">
      <dgm:prSet/>
      <dgm:spPr/>
      <dgm:t>
        <a:bodyPr/>
        <a:lstStyle/>
        <a:p>
          <a:endParaRPr lang="fi-FI"/>
        </a:p>
      </dgm:t>
    </dgm:pt>
    <dgm:pt modelId="{8B93ADB2-C681-40A1-9EEF-45A08600AD48}">
      <dgm:prSet/>
      <dgm:spPr/>
      <dgm:t>
        <a:bodyPr/>
        <a:lstStyle/>
        <a:p>
          <a:r>
            <a:rPr lang="fi-FI" dirty="0"/>
            <a:t>siinä kutakin kromosomia on yksi kappale</a:t>
          </a:r>
        </a:p>
      </dgm:t>
    </dgm:pt>
    <dgm:pt modelId="{EAD44AAD-DDE4-4CE2-95AF-1A68B2AEFD7D}" type="parTrans" cxnId="{2BC11F57-F0E6-4588-90D0-47F84A7124BE}">
      <dgm:prSet/>
      <dgm:spPr/>
      <dgm:t>
        <a:bodyPr/>
        <a:lstStyle/>
        <a:p>
          <a:endParaRPr lang="fi-FI"/>
        </a:p>
      </dgm:t>
    </dgm:pt>
    <dgm:pt modelId="{145067BB-CB5C-40DC-9567-A716F567B4DA}" type="sibTrans" cxnId="{2BC11F57-F0E6-4588-90D0-47F84A7124BE}">
      <dgm:prSet/>
      <dgm:spPr/>
      <dgm:t>
        <a:bodyPr/>
        <a:lstStyle/>
        <a:p>
          <a:endParaRPr lang="fi-FI"/>
        </a:p>
      </dgm:t>
    </dgm:pt>
    <dgm:pt modelId="{12F608B6-41E2-40E2-9FA6-611316810BB4}">
      <dgm:prSet/>
      <dgm:spPr>
        <a:solidFill>
          <a:srgbClr val="F599C3"/>
        </a:solidFill>
      </dgm:spPr>
      <dgm:t>
        <a:bodyPr/>
        <a:lstStyle/>
        <a:p>
          <a:pPr>
            <a:buFont typeface="Arial" charset="0"/>
            <a:buChar char="•"/>
          </a:pPr>
          <a:r>
            <a:rPr lang="fi-FI" dirty="0"/>
            <a:t>Koska solussa kutakin kromosomia on kaksi kappaletta, puhutaan diploidisesta kromosomistosta (2n)</a:t>
          </a:r>
        </a:p>
      </dgm:t>
    </dgm:pt>
    <dgm:pt modelId="{1603F303-3FA8-48C6-96DA-ED0EAA93A1AD}" type="parTrans" cxnId="{CF923A3E-3621-488A-8303-D9A8794C17DD}">
      <dgm:prSet/>
      <dgm:spPr/>
      <dgm:t>
        <a:bodyPr/>
        <a:lstStyle/>
        <a:p>
          <a:endParaRPr lang="fi-FI"/>
        </a:p>
      </dgm:t>
    </dgm:pt>
    <dgm:pt modelId="{43615E84-C10F-41AA-890C-DDBF0CBA4DAD}" type="sibTrans" cxnId="{CF923A3E-3621-488A-8303-D9A8794C17DD}">
      <dgm:prSet/>
      <dgm:spPr/>
      <dgm:t>
        <a:bodyPr/>
        <a:lstStyle/>
        <a:p>
          <a:endParaRPr lang="fi-FI"/>
        </a:p>
      </dgm:t>
    </dgm:pt>
    <dgm:pt modelId="{51B4CEDF-1C09-4259-A726-B1DDD78EF02A}">
      <dgm:prSet/>
      <dgm:spPr>
        <a:noFill/>
      </dgm:spPr>
      <dgm:t>
        <a:bodyPr/>
        <a:lstStyle/>
        <a:p>
          <a:pPr>
            <a:buFont typeface="Arial" charset="0"/>
            <a:buChar char="•"/>
          </a:pPr>
          <a:r>
            <a:rPr lang="fi-FI" dirty="0"/>
            <a:t>toisiaan vastaavia kromosomeja kutsutaan vastinkromosomeiksi</a:t>
          </a:r>
        </a:p>
      </dgm:t>
    </dgm:pt>
    <dgm:pt modelId="{272697C1-D03A-4CE9-A24A-F7F83FA14CFD}" type="parTrans" cxnId="{BBDA742F-1940-4566-9E6A-5006AC05F150}">
      <dgm:prSet/>
      <dgm:spPr/>
      <dgm:t>
        <a:bodyPr/>
        <a:lstStyle/>
        <a:p>
          <a:endParaRPr lang="fi-FI"/>
        </a:p>
      </dgm:t>
    </dgm:pt>
    <dgm:pt modelId="{D8F4FF59-28DE-4955-80D5-C47BC2CD733D}" type="sibTrans" cxnId="{BBDA742F-1940-4566-9E6A-5006AC05F150}">
      <dgm:prSet/>
      <dgm:spPr/>
      <dgm:t>
        <a:bodyPr/>
        <a:lstStyle/>
        <a:p>
          <a:endParaRPr lang="fi-FI"/>
        </a:p>
      </dgm:t>
    </dgm:pt>
    <dgm:pt modelId="{C4936800-631E-4289-810B-A65DA2A6C46A}">
      <dgm:prSet/>
      <dgm:spPr/>
      <dgm:t>
        <a:bodyPr/>
        <a:lstStyle/>
        <a:p>
          <a:endParaRPr lang="fi-FI" dirty="0"/>
        </a:p>
      </dgm:t>
    </dgm:pt>
    <dgm:pt modelId="{8CCA3A09-C1A6-4632-850D-81B3E04CFC76}" type="parTrans" cxnId="{0563DAA7-F310-4CD8-A100-59AB7881E80F}">
      <dgm:prSet/>
      <dgm:spPr/>
      <dgm:t>
        <a:bodyPr/>
        <a:lstStyle/>
        <a:p>
          <a:endParaRPr lang="fi-FI"/>
        </a:p>
      </dgm:t>
    </dgm:pt>
    <dgm:pt modelId="{5BF1747A-7581-47E7-B2F5-4FB3EBCA5AD1}" type="sibTrans" cxnId="{0563DAA7-F310-4CD8-A100-59AB7881E80F}">
      <dgm:prSet/>
      <dgm:spPr/>
      <dgm:t>
        <a:bodyPr/>
        <a:lstStyle/>
        <a:p>
          <a:endParaRPr lang="fi-FI"/>
        </a:p>
      </dgm:t>
    </dgm:pt>
    <dgm:pt modelId="{FEC47A1D-4E37-48F0-AC91-13A726E3BD53}">
      <dgm:prSet/>
      <dgm:spPr/>
      <dgm:t>
        <a:bodyPr/>
        <a:lstStyle/>
        <a:p>
          <a:endParaRPr lang="fi-FI" dirty="0"/>
        </a:p>
      </dgm:t>
    </dgm:pt>
    <dgm:pt modelId="{B7EB19F3-AD08-4867-A5E8-7A1CA0D55731}" type="parTrans" cxnId="{39BDF2BB-1E39-49CD-9DC2-3B5DB80115BF}">
      <dgm:prSet/>
      <dgm:spPr/>
      <dgm:t>
        <a:bodyPr/>
        <a:lstStyle/>
        <a:p>
          <a:endParaRPr lang="fi-FI"/>
        </a:p>
      </dgm:t>
    </dgm:pt>
    <dgm:pt modelId="{DFA80135-5317-4068-A0C9-5232C422C870}" type="sibTrans" cxnId="{39BDF2BB-1E39-49CD-9DC2-3B5DB80115BF}">
      <dgm:prSet/>
      <dgm:spPr/>
      <dgm:t>
        <a:bodyPr/>
        <a:lstStyle/>
        <a:p>
          <a:endParaRPr lang="fi-FI"/>
        </a:p>
      </dgm:t>
    </dgm:pt>
    <dgm:pt modelId="{352EBE15-98F2-48FA-AA91-620738926CB5}">
      <dgm:prSet/>
      <dgm:spPr>
        <a:noFill/>
      </dgm:spPr>
      <dgm:t>
        <a:bodyPr/>
        <a:lstStyle/>
        <a:p>
          <a:pPr>
            <a:buFont typeface="Arial" charset="0"/>
            <a:buChar char="•"/>
          </a:pPr>
          <a:endParaRPr lang="fi-FI" dirty="0"/>
        </a:p>
      </dgm:t>
    </dgm:pt>
    <dgm:pt modelId="{866DE8EE-68A5-423F-9754-CED37EF21DD9}" type="parTrans" cxnId="{6D2EA35F-2E1B-4A80-B4E8-8A8ABEA2A609}">
      <dgm:prSet/>
      <dgm:spPr/>
      <dgm:t>
        <a:bodyPr/>
        <a:lstStyle/>
        <a:p>
          <a:endParaRPr lang="fi-FI"/>
        </a:p>
      </dgm:t>
    </dgm:pt>
    <dgm:pt modelId="{DA950823-FFDC-4AA5-B88C-574FD834E60B}" type="sibTrans" cxnId="{6D2EA35F-2E1B-4A80-B4E8-8A8ABEA2A609}">
      <dgm:prSet/>
      <dgm:spPr/>
      <dgm:t>
        <a:bodyPr/>
        <a:lstStyle/>
        <a:p>
          <a:endParaRPr lang="fi-FI"/>
        </a:p>
      </dgm:t>
    </dgm:pt>
    <dgm:pt modelId="{2A2F781F-16C1-4D29-B08D-ACB557B90863}" type="pres">
      <dgm:prSet presAssocID="{2DD9BEDF-B9E2-4ABA-A056-FFA32216D3C8}" presName="linear" presStyleCnt="0">
        <dgm:presLayoutVars>
          <dgm:animLvl val="lvl"/>
          <dgm:resizeHandles val="exact"/>
        </dgm:presLayoutVars>
      </dgm:prSet>
      <dgm:spPr/>
    </dgm:pt>
    <dgm:pt modelId="{103C0909-A682-46FE-9197-CA34F8B6BD42}" type="pres">
      <dgm:prSet presAssocID="{6191DB02-BDC9-4F40-9296-F0AD3BB2C6D9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2A7433A9-AD7E-447A-BD6E-7EE09B7CC41D}" type="pres">
      <dgm:prSet presAssocID="{6191DB02-BDC9-4F40-9296-F0AD3BB2C6D9}" presName="childText" presStyleLbl="revTx" presStyleIdx="0" presStyleCnt="3">
        <dgm:presLayoutVars>
          <dgm:bulletEnabled val="1"/>
        </dgm:presLayoutVars>
      </dgm:prSet>
      <dgm:spPr/>
    </dgm:pt>
    <dgm:pt modelId="{70D20C35-AC64-4FD9-B736-FB68AD5A5A92}" type="pres">
      <dgm:prSet presAssocID="{FDDAD744-75E2-48EC-9072-1270246F6EB9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0E8D784E-0557-4241-93B9-7D45F47B65AE}" type="pres">
      <dgm:prSet presAssocID="{FDDAD744-75E2-48EC-9072-1270246F6EB9}" presName="childText" presStyleLbl="revTx" presStyleIdx="1" presStyleCnt="3">
        <dgm:presLayoutVars>
          <dgm:bulletEnabled val="1"/>
        </dgm:presLayoutVars>
      </dgm:prSet>
      <dgm:spPr/>
    </dgm:pt>
    <dgm:pt modelId="{7D305730-1DA8-4BEB-B659-E57AF5F0F90B}" type="pres">
      <dgm:prSet presAssocID="{12F608B6-41E2-40E2-9FA6-611316810BB4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77645254-E134-4E95-B777-B945C532F26C}" type="pres">
      <dgm:prSet presAssocID="{12F608B6-41E2-40E2-9FA6-611316810BB4}" presName="childText" presStyleLbl="revTx" presStyleIdx="2" presStyleCnt="3">
        <dgm:presLayoutVars>
          <dgm:bulletEnabled val="1"/>
        </dgm:presLayoutVars>
      </dgm:prSet>
      <dgm:spPr/>
    </dgm:pt>
  </dgm:ptLst>
  <dgm:cxnLst>
    <dgm:cxn modelId="{14F68F0F-2CA9-4E8E-8683-6DD489D5FB4E}" type="presOf" srcId="{6191DB02-BDC9-4F40-9296-F0AD3BB2C6D9}" destId="{103C0909-A682-46FE-9197-CA34F8B6BD42}" srcOrd="0" destOrd="0" presId="urn:microsoft.com/office/officeart/2005/8/layout/vList2"/>
    <dgm:cxn modelId="{BBDA742F-1940-4566-9E6A-5006AC05F150}" srcId="{12F608B6-41E2-40E2-9FA6-611316810BB4}" destId="{51B4CEDF-1C09-4259-A726-B1DDD78EF02A}" srcOrd="0" destOrd="0" parTransId="{272697C1-D03A-4CE9-A24A-F7F83FA14CFD}" sibTransId="{D8F4FF59-28DE-4955-80D5-C47BC2CD733D}"/>
    <dgm:cxn modelId="{CF923A3E-3621-488A-8303-D9A8794C17DD}" srcId="{2DD9BEDF-B9E2-4ABA-A056-FFA32216D3C8}" destId="{12F608B6-41E2-40E2-9FA6-611316810BB4}" srcOrd="2" destOrd="0" parTransId="{1603F303-3FA8-48C6-96DA-ED0EAA93A1AD}" sibTransId="{43615E84-C10F-41AA-890C-DDBF0CBA4DAD}"/>
    <dgm:cxn modelId="{8F42755E-7393-47D1-8B23-C4324CD204CA}" type="presOf" srcId="{FDDAD744-75E2-48EC-9072-1270246F6EB9}" destId="{70D20C35-AC64-4FD9-B736-FB68AD5A5A92}" srcOrd="0" destOrd="0" presId="urn:microsoft.com/office/officeart/2005/8/layout/vList2"/>
    <dgm:cxn modelId="{6D2EA35F-2E1B-4A80-B4E8-8A8ABEA2A609}" srcId="{12F608B6-41E2-40E2-9FA6-611316810BB4}" destId="{352EBE15-98F2-48FA-AA91-620738926CB5}" srcOrd="1" destOrd="0" parTransId="{866DE8EE-68A5-423F-9754-CED37EF21DD9}" sibTransId="{DA950823-FFDC-4AA5-B88C-574FD834E60B}"/>
    <dgm:cxn modelId="{4D3B8D46-ECE1-409D-B12C-35390EF1A5FB}" type="presOf" srcId="{FEC47A1D-4E37-48F0-AC91-13A726E3BD53}" destId="{0E8D784E-0557-4241-93B9-7D45F47B65AE}" srcOrd="0" destOrd="2" presId="urn:microsoft.com/office/officeart/2005/8/layout/vList2"/>
    <dgm:cxn modelId="{705C8768-1311-4EE0-90C6-BD7623FA6E23}" srcId="{2DD9BEDF-B9E2-4ABA-A056-FFA32216D3C8}" destId="{6191DB02-BDC9-4F40-9296-F0AD3BB2C6D9}" srcOrd="0" destOrd="0" parTransId="{2828203E-282B-464C-8C5D-521B0A0FF0EB}" sibTransId="{196BF26C-3554-42C7-B0EA-C5D0A1084313}"/>
    <dgm:cxn modelId="{A607AA68-7F19-4F79-A856-AD6AC586DB18}" srcId="{6191DB02-BDC9-4F40-9296-F0AD3BB2C6D9}" destId="{6BD1D2DF-2A2F-4B17-8F34-5D6CBBF0EB5C}" srcOrd="0" destOrd="0" parTransId="{98CADC32-B1DC-4B93-BC46-D55E7A630505}" sibTransId="{7878CFB9-3543-4E6E-9E7F-8EAA0DB31EE3}"/>
    <dgm:cxn modelId="{EEAF856E-D494-4C75-B60F-C3EF4BEE7FB0}" type="presOf" srcId="{3CA9C089-352D-41A0-AFF3-3430A6040091}" destId="{0E8D784E-0557-4241-93B9-7D45F47B65AE}" srcOrd="0" destOrd="0" presId="urn:microsoft.com/office/officeart/2005/8/layout/vList2"/>
    <dgm:cxn modelId="{D2684D56-1448-49BB-B06C-8928031568E8}" type="presOf" srcId="{8B93ADB2-C681-40A1-9EEF-45A08600AD48}" destId="{0E8D784E-0557-4241-93B9-7D45F47B65AE}" srcOrd="0" destOrd="1" presId="urn:microsoft.com/office/officeart/2005/8/layout/vList2"/>
    <dgm:cxn modelId="{2BC11F57-F0E6-4588-90D0-47F84A7124BE}" srcId="{FDDAD744-75E2-48EC-9072-1270246F6EB9}" destId="{8B93ADB2-C681-40A1-9EEF-45A08600AD48}" srcOrd="1" destOrd="0" parTransId="{EAD44AAD-DDE4-4CE2-95AF-1A68B2AEFD7D}" sibTransId="{145067BB-CB5C-40DC-9567-A716F567B4DA}"/>
    <dgm:cxn modelId="{52C20D7F-188C-4C30-9514-7FDF31498453}" type="presOf" srcId="{6BD1D2DF-2A2F-4B17-8F34-5D6CBBF0EB5C}" destId="{2A7433A9-AD7E-447A-BD6E-7EE09B7CC41D}" srcOrd="0" destOrd="0" presId="urn:microsoft.com/office/officeart/2005/8/layout/vList2"/>
    <dgm:cxn modelId="{DACC5D88-CD5F-435C-A8FE-F675FF224EC6}" srcId="{FDDAD744-75E2-48EC-9072-1270246F6EB9}" destId="{3CA9C089-352D-41A0-AFF3-3430A6040091}" srcOrd="0" destOrd="0" parTransId="{D3CC625F-4BC0-4939-8381-6DE40298A0C7}" sibTransId="{4B6CB8F1-A166-43CE-BC83-30B05FA86930}"/>
    <dgm:cxn modelId="{7F9DEF8C-F395-4180-BF18-31D2F06B1D46}" type="presOf" srcId="{51B4CEDF-1C09-4259-A726-B1DDD78EF02A}" destId="{77645254-E134-4E95-B777-B945C532F26C}" srcOrd="0" destOrd="0" presId="urn:microsoft.com/office/officeart/2005/8/layout/vList2"/>
    <dgm:cxn modelId="{108B96A4-E348-4A96-AA30-CB40BD42B7F3}" type="presOf" srcId="{352EBE15-98F2-48FA-AA91-620738926CB5}" destId="{77645254-E134-4E95-B777-B945C532F26C}" srcOrd="0" destOrd="1" presId="urn:microsoft.com/office/officeart/2005/8/layout/vList2"/>
    <dgm:cxn modelId="{0563DAA7-F310-4CD8-A100-59AB7881E80F}" srcId="{6191DB02-BDC9-4F40-9296-F0AD3BB2C6D9}" destId="{C4936800-631E-4289-810B-A65DA2A6C46A}" srcOrd="1" destOrd="0" parTransId="{8CCA3A09-C1A6-4632-850D-81B3E04CFC76}" sibTransId="{5BF1747A-7581-47E7-B2F5-4FB3EBCA5AD1}"/>
    <dgm:cxn modelId="{93B23AAA-49DF-4990-A6E8-553702789101}" type="presOf" srcId="{C4936800-631E-4289-810B-A65DA2A6C46A}" destId="{2A7433A9-AD7E-447A-BD6E-7EE09B7CC41D}" srcOrd="0" destOrd="1" presId="urn:microsoft.com/office/officeart/2005/8/layout/vList2"/>
    <dgm:cxn modelId="{39BDF2BB-1E39-49CD-9DC2-3B5DB80115BF}" srcId="{FDDAD744-75E2-48EC-9072-1270246F6EB9}" destId="{FEC47A1D-4E37-48F0-AC91-13A726E3BD53}" srcOrd="2" destOrd="0" parTransId="{B7EB19F3-AD08-4867-A5E8-7A1CA0D55731}" sibTransId="{DFA80135-5317-4068-A0C9-5232C422C870}"/>
    <dgm:cxn modelId="{80B36DC0-A1CA-42E5-B78A-79BFF3C79841}" type="presOf" srcId="{2DD9BEDF-B9E2-4ABA-A056-FFA32216D3C8}" destId="{2A2F781F-16C1-4D29-B08D-ACB557B90863}" srcOrd="0" destOrd="0" presId="urn:microsoft.com/office/officeart/2005/8/layout/vList2"/>
    <dgm:cxn modelId="{830C0BD5-0D11-4FD7-9B2D-89244750F12A}" srcId="{2DD9BEDF-B9E2-4ABA-A056-FFA32216D3C8}" destId="{FDDAD744-75E2-48EC-9072-1270246F6EB9}" srcOrd="1" destOrd="0" parTransId="{16E036DF-4B47-4020-8E5C-580093FF8094}" sibTransId="{96BC85D9-A93A-49D1-BA65-70053D2CC89F}"/>
    <dgm:cxn modelId="{D6D280F1-D72C-41FD-9F26-AEC1EAF65DA4}" type="presOf" srcId="{12F608B6-41E2-40E2-9FA6-611316810BB4}" destId="{7D305730-1DA8-4BEB-B659-E57AF5F0F90B}" srcOrd="0" destOrd="0" presId="urn:microsoft.com/office/officeart/2005/8/layout/vList2"/>
    <dgm:cxn modelId="{B8E57260-8134-437A-AD3A-4AD0F0C9B719}" type="presParOf" srcId="{2A2F781F-16C1-4D29-B08D-ACB557B90863}" destId="{103C0909-A682-46FE-9197-CA34F8B6BD42}" srcOrd="0" destOrd="0" presId="urn:microsoft.com/office/officeart/2005/8/layout/vList2"/>
    <dgm:cxn modelId="{FD52A912-934F-4448-8B29-DD303E526CFB}" type="presParOf" srcId="{2A2F781F-16C1-4D29-B08D-ACB557B90863}" destId="{2A7433A9-AD7E-447A-BD6E-7EE09B7CC41D}" srcOrd="1" destOrd="0" presId="urn:microsoft.com/office/officeart/2005/8/layout/vList2"/>
    <dgm:cxn modelId="{C81136A1-47F1-4AE8-9D5E-71887F2BA7E1}" type="presParOf" srcId="{2A2F781F-16C1-4D29-B08D-ACB557B90863}" destId="{70D20C35-AC64-4FD9-B736-FB68AD5A5A92}" srcOrd="2" destOrd="0" presId="urn:microsoft.com/office/officeart/2005/8/layout/vList2"/>
    <dgm:cxn modelId="{2AAFC7D8-E04B-47B6-9C8D-65423F4FBC8A}" type="presParOf" srcId="{2A2F781F-16C1-4D29-B08D-ACB557B90863}" destId="{0E8D784E-0557-4241-93B9-7D45F47B65AE}" srcOrd="3" destOrd="0" presId="urn:microsoft.com/office/officeart/2005/8/layout/vList2"/>
    <dgm:cxn modelId="{83AA6F6A-8F40-494D-82E3-79D669F5F767}" type="presParOf" srcId="{2A2F781F-16C1-4D29-B08D-ACB557B90863}" destId="{7D305730-1DA8-4BEB-B659-E57AF5F0F90B}" srcOrd="4" destOrd="0" presId="urn:microsoft.com/office/officeart/2005/8/layout/vList2"/>
    <dgm:cxn modelId="{5B3A8057-601C-4C2C-B5E3-5873700280C8}" type="presParOf" srcId="{2A2F781F-16C1-4D29-B08D-ACB557B90863}" destId="{77645254-E134-4E95-B777-B945C532F26C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DD9BEDF-B9E2-4ABA-A056-FFA32216D3C8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i-FI"/>
        </a:p>
      </dgm:t>
    </dgm:pt>
    <dgm:pt modelId="{6191DB02-BDC9-4F40-9296-F0AD3BB2C6D9}">
      <dgm:prSet/>
      <dgm:spPr>
        <a:solidFill>
          <a:srgbClr val="EC008C"/>
        </a:solidFill>
      </dgm:spPr>
      <dgm:t>
        <a:bodyPr/>
        <a:lstStyle/>
        <a:p>
          <a:r>
            <a:rPr lang="fi-FI" dirty="0"/>
            <a:t>Meioosi lisää perinnöllistä eli geneettistä muuntelua</a:t>
          </a:r>
        </a:p>
      </dgm:t>
    </dgm:pt>
    <dgm:pt modelId="{2828203E-282B-464C-8C5D-521B0A0FF0EB}" type="parTrans" cxnId="{705C8768-1311-4EE0-90C6-BD7623FA6E23}">
      <dgm:prSet/>
      <dgm:spPr/>
      <dgm:t>
        <a:bodyPr/>
        <a:lstStyle/>
        <a:p>
          <a:endParaRPr lang="fi-FI"/>
        </a:p>
      </dgm:t>
    </dgm:pt>
    <dgm:pt modelId="{196BF26C-3554-42C7-B0EA-C5D0A1084313}" type="sibTrans" cxnId="{705C8768-1311-4EE0-90C6-BD7623FA6E23}">
      <dgm:prSet/>
      <dgm:spPr/>
      <dgm:t>
        <a:bodyPr/>
        <a:lstStyle/>
        <a:p>
          <a:endParaRPr lang="fi-FI"/>
        </a:p>
      </dgm:t>
    </dgm:pt>
    <dgm:pt modelId="{12F608B6-41E2-40E2-9FA6-611316810BB4}">
      <dgm:prSet/>
      <dgm:spPr>
        <a:solidFill>
          <a:srgbClr val="EC008C"/>
        </a:solidFill>
      </dgm:spPr>
      <dgm:t>
        <a:bodyPr/>
        <a:lstStyle/>
        <a:p>
          <a:pPr>
            <a:buFont typeface="Arial" charset="0"/>
            <a:buChar char="•"/>
          </a:pPr>
          <a:r>
            <a:rPr lang="fi-FI"/>
            <a:t>Geneettinen rekombinaatio = sukusolujen erilaisuus</a:t>
          </a:r>
          <a:endParaRPr lang="fi-FI" dirty="0"/>
        </a:p>
      </dgm:t>
    </dgm:pt>
    <dgm:pt modelId="{1603F303-3FA8-48C6-96DA-ED0EAA93A1AD}" type="parTrans" cxnId="{CF923A3E-3621-488A-8303-D9A8794C17DD}">
      <dgm:prSet/>
      <dgm:spPr/>
      <dgm:t>
        <a:bodyPr/>
        <a:lstStyle/>
        <a:p>
          <a:endParaRPr lang="fi-FI"/>
        </a:p>
      </dgm:t>
    </dgm:pt>
    <dgm:pt modelId="{43615E84-C10F-41AA-890C-DDBF0CBA4DAD}" type="sibTrans" cxnId="{CF923A3E-3621-488A-8303-D9A8794C17DD}">
      <dgm:prSet/>
      <dgm:spPr/>
      <dgm:t>
        <a:bodyPr/>
        <a:lstStyle/>
        <a:p>
          <a:endParaRPr lang="fi-FI"/>
        </a:p>
      </dgm:t>
    </dgm:pt>
    <dgm:pt modelId="{352EBE15-98F2-48FA-AA91-620738926CB5}">
      <dgm:prSet/>
      <dgm:spPr>
        <a:solidFill>
          <a:srgbClr val="EC008C"/>
        </a:solidFill>
      </dgm:spPr>
      <dgm:t>
        <a:bodyPr/>
        <a:lstStyle/>
        <a:p>
          <a:r>
            <a:rPr lang="fi-FI" dirty="0"/>
            <a:t>Geneettinen muuntelu eli jälkeläisten erilaisuus johtuu sukusolujen erilaisuudesta, sukusolujen sattumanvaraisesta yhdistymisestä ja sukusolujen suuresta määrästä</a:t>
          </a:r>
        </a:p>
      </dgm:t>
    </dgm:pt>
    <dgm:pt modelId="{866DE8EE-68A5-423F-9754-CED37EF21DD9}" type="parTrans" cxnId="{6D2EA35F-2E1B-4A80-B4E8-8A8ABEA2A609}">
      <dgm:prSet/>
      <dgm:spPr/>
      <dgm:t>
        <a:bodyPr/>
        <a:lstStyle/>
        <a:p>
          <a:endParaRPr lang="fi-FI"/>
        </a:p>
      </dgm:t>
    </dgm:pt>
    <dgm:pt modelId="{DA950823-FFDC-4AA5-B88C-574FD834E60B}" type="sibTrans" cxnId="{6D2EA35F-2E1B-4A80-B4E8-8A8ABEA2A609}">
      <dgm:prSet/>
      <dgm:spPr/>
      <dgm:t>
        <a:bodyPr/>
        <a:lstStyle/>
        <a:p>
          <a:endParaRPr lang="fi-FI"/>
        </a:p>
      </dgm:t>
    </dgm:pt>
    <dgm:pt modelId="{FDDAD744-75E2-48EC-9072-1270246F6EB9}">
      <dgm:prSet/>
      <dgm:spPr>
        <a:solidFill>
          <a:srgbClr val="EC008C"/>
        </a:solidFill>
      </dgm:spPr>
      <dgm:t>
        <a:bodyPr/>
        <a:lstStyle/>
        <a:p>
          <a:r>
            <a:rPr lang="fi-FI">
              <a:cs typeface="Calibri"/>
            </a:rPr>
            <a:t>Mutaatiot</a:t>
          </a:r>
          <a:endParaRPr lang="fi-FI" dirty="0"/>
        </a:p>
      </dgm:t>
    </dgm:pt>
    <dgm:pt modelId="{96BC85D9-A93A-49D1-BA65-70053D2CC89F}" type="sibTrans" cxnId="{830C0BD5-0D11-4FD7-9B2D-89244750F12A}">
      <dgm:prSet/>
      <dgm:spPr/>
      <dgm:t>
        <a:bodyPr/>
        <a:lstStyle/>
        <a:p>
          <a:endParaRPr lang="fi-FI"/>
        </a:p>
      </dgm:t>
    </dgm:pt>
    <dgm:pt modelId="{16E036DF-4B47-4020-8E5C-580093FF8094}" type="parTrans" cxnId="{830C0BD5-0D11-4FD7-9B2D-89244750F12A}">
      <dgm:prSet/>
      <dgm:spPr/>
      <dgm:t>
        <a:bodyPr/>
        <a:lstStyle/>
        <a:p>
          <a:endParaRPr lang="fi-FI"/>
        </a:p>
      </dgm:t>
    </dgm:pt>
    <dgm:pt modelId="{3A2042B8-3590-4F30-8EBC-270FFE47BC5E}">
      <dgm:prSet/>
      <dgm:spPr/>
      <dgm:t>
        <a:bodyPr/>
        <a:lstStyle/>
        <a:p>
          <a:pPr>
            <a:buFont typeface="Arial" charset="0"/>
            <a:buChar char="•"/>
          </a:pPr>
          <a:r>
            <a:rPr lang="fi-FI"/>
            <a:t>Jokaisessa sukusolussa on erilainen yhdistelmä äidiltä ja isältä saatuja kromosomeja</a:t>
          </a:r>
          <a:endParaRPr lang="fi-FI" dirty="0"/>
        </a:p>
      </dgm:t>
    </dgm:pt>
    <dgm:pt modelId="{DF10B9EB-C50B-4DBD-99FC-99FEBDD20150}" type="parTrans" cxnId="{36A3FE02-22FC-489E-A21F-FE0469EEF9FC}">
      <dgm:prSet/>
      <dgm:spPr/>
      <dgm:t>
        <a:bodyPr/>
        <a:lstStyle/>
        <a:p>
          <a:endParaRPr lang="fi-FI"/>
        </a:p>
      </dgm:t>
    </dgm:pt>
    <dgm:pt modelId="{427D5B7E-3BD0-464B-9F7A-994835F26D52}" type="sibTrans" cxnId="{36A3FE02-22FC-489E-A21F-FE0469EEF9FC}">
      <dgm:prSet/>
      <dgm:spPr/>
      <dgm:t>
        <a:bodyPr/>
        <a:lstStyle/>
        <a:p>
          <a:endParaRPr lang="fi-FI"/>
        </a:p>
      </dgm:t>
    </dgm:pt>
    <dgm:pt modelId="{344545C4-FE14-4AB6-B886-906AFC5874EC}">
      <dgm:prSet/>
      <dgm:spPr/>
      <dgm:t>
        <a:bodyPr/>
        <a:lstStyle/>
        <a:p>
          <a:pPr>
            <a:buFont typeface="Arial" charset="0"/>
            <a:buChar char="•"/>
          </a:pPr>
          <a:r>
            <a:rPr lang="fi-FI" dirty="0"/>
            <a:t>Vastinkromosomit voivat vaihtaa paloja kromosomista (tekijäinvaihdunta), mikä johtaa erilaisten sukusolujen syntyyn</a:t>
          </a:r>
        </a:p>
      </dgm:t>
    </dgm:pt>
    <dgm:pt modelId="{2E90F11C-2150-4D53-B5CE-8F1C171FEF53}" type="parTrans" cxnId="{145730FA-7DC3-43F0-B545-36B1387F656D}">
      <dgm:prSet/>
      <dgm:spPr/>
      <dgm:t>
        <a:bodyPr/>
        <a:lstStyle/>
        <a:p>
          <a:endParaRPr lang="fi-FI"/>
        </a:p>
      </dgm:t>
    </dgm:pt>
    <dgm:pt modelId="{3FAFFC83-BC2C-4BC2-A9D8-A79EB5EA3DC8}" type="sibTrans" cxnId="{145730FA-7DC3-43F0-B545-36B1387F656D}">
      <dgm:prSet/>
      <dgm:spPr/>
      <dgm:t>
        <a:bodyPr/>
        <a:lstStyle/>
        <a:p>
          <a:endParaRPr lang="fi-FI"/>
        </a:p>
      </dgm:t>
    </dgm:pt>
    <dgm:pt modelId="{6DE87992-97E2-488C-BD15-E4B4038EF13F}">
      <dgm:prSet/>
      <dgm:spPr/>
      <dgm:t>
        <a:bodyPr/>
        <a:lstStyle/>
        <a:p>
          <a:pPr>
            <a:buFont typeface="Arial" charset="0"/>
            <a:buChar char="•"/>
          </a:pPr>
          <a:endParaRPr lang="fi-FI" dirty="0"/>
        </a:p>
      </dgm:t>
    </dgm:pt>
    <dgm:pt modelId="{80D63D44-8129-4FAF-A2F6-FE69EB68149F}" type="parTrans" cxnId="{01B08F5D-EF0D-4CBA-828D-49433F50FC58}">
      <dgm:prSet/>
      <dgm:spPr/>
      <dgm:t>
        <a:bodyPr/>
        <a:lstStyle/>
        <a:p>
          <a:endParaRPr lang="fi-FI"/>
        </a:p>
      </dgm:t>
    </dgm:pt>
    <dgm:pt modelId="{140645A6-A771-45A3-8EE9-B1449B14A24E}" type="sibTrans" cxnId="{01B08F5D-EF0D-4CBA-828D-49433F50FC58}">
      <dgm:prSet/>
      <dgm:spPr/>
      <dgm:t>
        <a:bodyPr/>
        <a:lstStyle/>
        <a:p>
          <a:endParaRPr lang="fi-FI"/>
        </a:p>
      </dgm:t>
    </dgm:pt>
    <dgm:pt modelId="{2A2F781F-16C1-4D29-B08D-ACB557B90863}" type="pres">
      <dgm:prSet presAssocID="{2DD9BEDF-B9E2-4ABA-A056-FFA32216D3C8}" presName="linear" presStyleCnt="0">
        <dgm:presLayoutVars>
          <dgm:animLvl val="lvl"/>
          <dgm:resizeHandles val="exact"/>
        </dgm:presLayoutVars>
      </dgm:prSet>
      <dgm:spPr/>
    </dgm:pt>
    <dgm:pt modelId="{103C0909-A682-46FE-9197-CA34F8B6BD42}" type="pres">
      <dgm:prSet presAssocID="{6191DB02-BDC9-4F40-9296-F0AD3BB2C6D9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B1846A3C-3D4A-4823-ADA3-B7B556D42745}" type="pres">
      <dgm:prSet presAssocID="{196BF26C-3554-42C7-B0EA-C5D0A1084313}" presName="spacer" presStyleCnt="0"/>
      <dgm:spPr/>
    </dgm:pt>
    <dgm:pt modelId="{70D20C35-AC64-4FD9-B736-FB68AD5A5A92}" type="pres">
      <dgm:prSet presAssocID="{FDDAD744-75E2-48EC-9072-1270246F6EB9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FBE73148-9ED8-493D-8DDB-CD5B51F23D37}" type="pres">
      <dgm:prSet presAssocID="{96BC85D9-A93A-49D1-BA65-70053D2CC89F}" presName="spacer" presStyleCnt="0"/>
      <dgm:spPr/>
    </dgm:pt>
    <dgm:pt modelId="{7D305730-1DA8-4BEB-B659-E57AF5F0F90B}" type="pres">
      <dgm:prSet presAssocID="{12F608B6-41E2-40E2-9FA6-611316810BB4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77645254-E134-4E95-B777-B945C532F26C}" type="pres">
      <dgm:prSet presAssocID="{12F608B6-41E2-40E2-9FA6-611316810BB4}" presName="childText" presStyleLbl="revTx" presStyleIdx="0" presStyleCnt="1">
        <dgm:presLayoutVars>
          <dgm:bulletEnabled val="1"/>
        </dgm:presLayoutVars>
      </dgm:prSet>
      <dgm:spPr/>
    </dgm:pt>
    <dgm:pt modelId="{B4F0054F-391A-4FA8-9A4F-B26CFAD89CCE}" type="pres">
      <dgm:prSet presAssocID="{352EBE15-98F2-48FA-AA91-620738926CB5}" presName="parentText" presStyleLbl="node1" presStyleIdx="3" presStyleCnt="4">
        <dgm:presLayoutVars>
          <dgm:chMax val="0"/>
          <dgm:bulletEnabled val="1"/>
        </dgm:presLayoutVars>
      </dgm:prSet>
      <dgm:spPr/>
    </dgm:pt>
  </dgm:ptLst>
  <dgm:cxnLst>
    <dgm:cxn modelId="{36A3FE02-22FC-489E-A21F-FE0469EEF9FC}" srcId="{12F608B6-41E2-40E2-9FA6-611316810BB4}" destId="{3A2042B8-3590-4F30-8EBC-270FFE47BC5E}" srcOrd="0" destOrd="0" parTransId="{DF10B9EB-C50B-4DBD-99FC-99FEBDD20150}" sibTransId="{427D5B7E-3BD0-464B-9F7A-994835F26D52}"/>
    <dgm:cxn modelId="{BAFB310B-6300-41D2-8283-595FCE68A963}" type="presOf" srcId="{352EBE15-98F2-48FA-AA91-620738926CB5}" destId="{B4F0054F-391A-4FA8-9A4F-B26CFAD89CCE}" srcOrd="0" destOrd="0" presId="urn:microsoft.com/office/officeart/2005/8/layout/vList2"/>
    <dgm:cxn modelId="{14F68F0F-2CA9-4E8E-8683-6DD489D5FB4E}" type="presOf" srcId="{6191DB02-BDC9-4F40-9296-F0AD3BB2C6D9}" destId="{103C0909-A682-46FE-9197-CA34F8B6BD42}" srcOrd="0" destOrd="0" presId="urn:microsoft.com/office/officeart/2005/8/layout/vList2"/>
    <dgm:cxn modelId="{CF923A3E-3621-488A-8303-D9A8794C17DD}" srcId="{2DD9BEDF-B9E2-4ABA-A056-FFA32216D3C8}" destId="{12F608B6-41E2-40E2-9FA6-611316810BB4}" srcOrd="2" destOrd="0" parTransId="{1603F303-3FA8-48C6-96DA-ED0EAA93A1AD}" sibTransId="{43615E84-C10F-41AA-890C-DDBF0CBA4DAD}"/>
    <dgm:cxn modelId="{01B08F5D-EF0D-4CBA-828D-49433F50FC58}" srcId="{12F608B6-41E2-40E2-9FA6-611316810BB4}" destId="{6DE87992-97E2-488C-BD15-E4B4038EF13F}" srcOrd="2" destOrd="0" parTransId="{80D63D44-8129-4FAF-A2F6-FE69EB68149F}" sibTransId="{140645A6-A771-45A3-8EE9-B1449B14A24E}"/>
    <dgm:cxn modelId="{8F42755E-7393-47D1-8B23-C4324CD204CA}" type="presOf" srcId="{FDDAD744-75E2-48EC-9072-1270246F6EB9}" destId="{70D20C35-AC64-4FD9-B736-FB68AD5A5A92}" srcOrd="0" destOrd="0" presId="urn:microsoft.com/office/officeart/2005/8/layout/vList2"/>
    <dgm:cxn modelId="{6D2EA35F-2E1B-4A80-B4E8-8A8ABEA2A609}" srcId="{2DD9BEDF-B9E2-4ABA-A056-FFA32216D3C8}" destId="{352EBE15-98F2-48FA-AA91-620738926CB5}" srcOrd="3" destOrd="0" parTransId="{866DE8EE-68A5-423F-9754-CED37EF21DD9}" sibTransId="{DA950823-FFDC-4AA5-B88C-574FD834E60B}"/>
    <dgm:cxn modelId="{705C8768-1311-4EE0-90C6-BD7623FA6E23}" srcId="{2DD9BEDF-B9E2-4ABA-A056-FFA32216D3C8}" destId="{6191DB02-BDC9-4F40-9296-F0AD3BB2C6D9}" srcOrd="0" destOrd="0" parTransId="{2828203E-282B-464C-8C5D-521B0A0FF0EB}" sibTransId="{196BF26C-3554-42C7-B0EA-C5D0A1084313}"/>
    <dgm:cxn modelId="{1DD4609A-7346-4259-8166-CA1A5E46F646}" type="presOf" srcId="{344545C4-FE14-4AB6-B886-906AFC5874EC}" destId="{77645254-E134-4E95-B777-B945C532F26C}" srcOrd="0" destOrd="1" presId="urn:microsoft.com/office/officeart/2005/8/layout/vList2"/>
    <dgm:cxn modelId="{1950E4A1-35CD-43E6-8E59-58D308ECCC19}" type="presOf" srcId="{6DE87992-97E2-488C-BD15-E4B4038EF13F}" destId="{77645254-E134-4E95-B777-B945C532F26C}" srcOrd="0" destOrd="2" presId="urn:microsoft.com/office/officeart/2005/8/layout/vList2"/>
    <dgm:cxn modelId="{80B36DC0-A1CA-42E5-B78A-79BFF3C79841}" type="presOf" srcId="{2DD9BEDF-B9E2-4ABA-A056-FFA32216D3C8}" destId="{2A2F781F-16C1-4D29-B08D-ACB557B90863}" srcOrd="0" destOrd="0" presId="urn:microsoft.com/office/officeart/2005/8/layout/vList2"/>
    <dgm:cxn modelId="{830C0BD5-0D11-4FD7-9B2D-89244750F12A}" srcId="{2DD9BEDF-B9E2-4ABA-A056-FFA32216D3C8}" destId="{FDDAD744-75E2-48EC-9072-1270246F6EB9}" srcOrd="1" destOrd="0" parTransId="{16E036DF-4B47-4020-8E5C-580093FF8094}" sibTransId="{96BC85D9-A93A-49D1-BA65-70053D2CC89F}"/>
    <dgm:cxn modelId="{252A5FEA-7A9F-429A-BC85-2FECAB500AD5}" type="presOf" srcId="{3A2042B8-3590-4F30-8EBC-270FFE47BC5E}" destId="{77645254-E134-4E95-B777-B945C532F26C}" srcOrd="0" destOrd="0" presId="urn:microsoft.com/office/officeart/2005/8/layout/vList2"/>
    <dgm:cxn modelId="{D6D280F1-D72C-41FD-9F26-AEC1EAF65DA4}" type="presOf" srcId="{12F608B6-41E2-40E2-9FA6-611316810BB4}" destId="{7D305730-1DA8-4BEB-B659-E57AF5F0F90B}" srcOrd="0" destOrd="0" presId="urn:microsoft.com/office/officeart/2005/8/layout/vList2"/>
    <dgm:cxn modelId="{145730FA-7DC3-43F0-B545-36B1387F656D}" srcId="{12F608B6-41E2-40E2-9FA6-611316810BB4}" destId="{344545C4-FE14-4AB6-B886-906AFC5874EC}" srcOrd="1" destOrd="0" parTransId="{2E90F11C-2150-4D53-B5CE-8F1C171FEF53}" sibTransId="{3FAFFC83-BC2C-4BC2-A9D8-A79EB5EA3DC8}"/>
    <dgm:cxn modelId="{B8E57260-8134-437A-AD3A-4AD0F0C9B719}" type="presParOf" srcId="{2A2F781F-16C1-4D29-B08D-ACB557B90863}" destId="{103C0909-A682-46FE-9197-CA34F8B6BD42}" srcOrd="0" destOrd="0" presId="urn:microsoft.com/office/officeart/2005/8/layout/vList2"/>
    <dgm:cxn modelId="{1F4AFEF3-A7A7-4C48-8356-ED1595CBA865}" type="presParOf" srcId="{2A2F781F-16C1-4D29-B08D-ACB557B90863}" destId="{B1846A3C-3D4A-4823-ADA3-B7B556D42745}" srcOrd="1" destOrd="0" presId="urn:microsoft.com/office/officeart/2005/8/layout/vList2"/>
    <dgm:cxn modelId="{C81136A1-47F1-4AE8-9D5E-71887F2BA7E1}" type="presParOf" srcId="{2A2F781F-16C1-4D29-B08D-ACB557B90863}" destId="{70D20C35-AC64-4FD9-B736-FB68AD5A5A92}" srcOrd="2" destOrd="0" presId="urn:microsoft.com/office/officeart/2005/8/layout/vList2"/>
    <dgm:cxn modelId="{7F358AA3-74D8-47FA-ADC6-F166C6F063F4}" type="presParOf" srcId="{2A2F781F-16C1-4D29-B08D-ACB557B90863}" destId="{FBE73148-9ED8-493D-8DDB-CD5B51F23D37}" srcOrd="3" destOrd="0" presId="urn:microsoft.com/office/officeart/2005/8/layout/vList2"/>
    <dgm:cxn modelId="{83AA6F6A-8F40-494D-82E3-79D669F5F767}" type="presParOf" srcId="{2A2F781F-16C1-4D29-B08D-ACB557B90863}" destId="{7D305730-1DA8-4BEB-B659-E57AF5F0F90B}" srcOrd="4" destOrd="0" presId="urn:microsoft.com/office/officeart/2005/8/layout/vList2"/>
    <dgm:cxn modelId="{5B3A8057-601C-4C2C-B5E3-5873700280C8}" type="presParOf" srcId="{2A2F781F-16C1-4D29-B08D-ACB557B90863}" destId="{77645254-E134-4E95-B777-B945C532F26C}" srcOrd="5" destOrd="0" presId="urn:microsoft.com/office/officeart/2005/8/layout/vList2"/>
    <dgm:cxn modelId="{4CFD748F-AAC2-4062-8A11-624201FA89E7}" type="presParOf" srcId="{2A2F781F-16C1-4D29-B08D-ACB557B90863}" destId="{B4F0054F-391A-4FA8-9A4F-B26CFAD89CCE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DD9BEDF-B9E2-4ABA-A056-FFA32216D3C8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i-FI"/>
        </a:p>
      </dgm:t>
    </dgm:pt>
    <dgm:pt modelId="{6191DB02-BDC9-4F40-9296-F0AD3BB2C6D9}">
      <dgm:prSet/>
      <dgm:spPr>
        <a:solidFill>
          <a:srgbClr val="EC008C"/>
        </a:solidFill>
      </dgm:spPr>
      <dgm:t>
        <a:bodyPr/>
        <a:lstStyle/>
        <a:p>
          <a:r>
            <a:rPr lang="fi-FI" dirty="0">
              <a:cs typeface="Calibri"/>
            </a:rPr>
            <a:t>Kromosomistomutaatio:</a:t>
          </a:r>
          <a:endParaRPr lang="fi-FI" dirty="0"/>
        </a:p>
      </dgm:t>
    </dgm:pt>
    <dgm:pt modelId="{2828203E-282B-464C-8C5D-521B0A0FF0EB}" type="parTrans" cxnId="{705C8768-1311-4EE0-90C6-BD7623FA6E23}">
      <dgm:prSet/>
      <dgm:spPr/>
      <dgm:t>
        <a:bodyPr/>
        <a:lstStyle/>
        <a:p>
          <a:endParaRPr lang="fi-FI"/>
        </a:p>
      </dgm:t>
    </dgm:pt>
    <dgm:pt modelId="{196BF26C-3554-42C7-B0EA-C5D0A1084313}" type="sibTrans" cxnId="{705C8768-1311-4EE0-90C6-BD7623FA6E23}">
      <dgm:prSet/>
      <dgm:spPr/>
      <dgm:t>
        <a:bodyPr/>
        <a:lstStyle/>
        <a:p>
          <a:endParaRPr lang="fi-FI"/>
        </a:p>
      </dgm:t>
    </dgm:pt>
    <dgm:pt modelId="{12F608B6-41E2-40E2-9FA6-611316810BB4}">
      <dgm:prSet/>
      <dgm:spPr>
        <a:solidFill>
          <a:srgbClr val="EC008C"/>
        </a:solidFill>
      </dgm:spPr>
      <dgm:t>
        <a:bodyPr/>
        <a:lstStyle/>
        <a:p>
          <a:pPr>
            <a:buFont typeface="Arial" charset="0"/>
            <a:buChar char="•"/>
          </a:pPr>
          <a:r>
            <a:rPr lang="fi-FI" dirty="0">
              <a:cs typeface="Calibri"/>
            </a:rPr>
            <a:t>Trisomia:</a:t>
          </a:r>
          <a:endParaRPr lang="fi-FI" dirty="0"/>
        </a:p>
      </dgm:t>
    </dgm:pt>
    <dgm:pt modelId="{1603F303-3FA8-48C6-96DA-ED0EAA93A1AD}" type="parTrans" cxnId="{CF923A3E-3621-488A-8303-D9A8794C17DD}">
      <dgm:prSet/>
      <dgm:spPr/>
      <dgm:t>
        <a:bodyPr/>
        <a:lstStyle/>
        <a:p>
          <a:endParaRPr lang="fi-FI"/>
        </a:p>
      </dgm:t>
    </dgm:pt>
    <dgm:pt modelId="{43615E84-C10F-41AA-890C-DDBF0CBA4DAD}" type="sibTrans" cxnId="{CF923A3E-3621-488A-8303-D9A8794C17DD}">
      <dgm:prSet/>
      <dgm:spPr/>
      <dgm:t>
        <a:bodyPr/>
        <a:lstStyle/>
        <a:p>
          <a:endParaRPr lang="fi-FI"/>
        </a:p>
      </dgm:t>
    </dgm:pt>
    <dgm:pt modelId="{352EBE15-98F2-48FA-AA91-620738926CB5}">
      <dgm:prSet/>
      <dgm:spPr>
        <a:solidFill>
          <a:srgbClr val="EC008C"/>
        </a:solidFill>
      </dgm:spPr>
      <dgm:t>
        <a:bodyPr/>
        <a:lstStyle/>
        <a:p>
          <a:r>
            <a:rPr lang="fi-FI" dirty="0" err="1">
              <a:cs typeface="Calibri"/>
            </a:rPr>
            <a:t>Polyploidia</a:t>
          </a:r>
          <a:r>
            <a:rPr lang="fi-FI" dirty="0">
              <a:cs typeface="Calibri"/>
            </a:rPr>
            <a:t>:</a:t>
          </a:r>
          <a:endParaRPr lang="fi-FI" dirty="0"/>
        </a:p>
      </dgm:t>
    </dgm:pt>
    <dgm:pt modelId="{866DE8EE-68A5-423F-9754-CED37EF21DD9}" type="parTrans" cxnId="{6D2EA35F-2E1B-4A80-B4E8-8A8ABEA2A609}">
      <dgm:prSet/>
      <dgm:spPr/>
      <dgm:t>
        <a:bodyPr/>
        <a:lstStyle/>
        <a:p>
          <a:endParaRPr lang="fi-FI"/>
        </a:p>
      </dgm:t>
    </dgm:pt>
    <dgm:pt modelId="{DA950823-FFDC-4AA5-B88C-574FD834E60B}" type="sibTrans" cxnId="{6D2EA35F-2E1B-4A80-B4E8-8A8ABEA2A609}">
      <dgm:prSet/>
      <dgm:spPr/>
      <dgm:t>
        <a:bodyPr/>
        <a:lstStyle/>
        <a:p>
          <a:endParaRPr lang="fi-FI"/>
        </a:p>
      </dgm:t>
    </dgm:pt>
    <dgm:pt modelId="{FDDAD744-75E2-48EC-9072-1270246F6EB9}">
      <dgm:prSet/>
      <dgm:spPr>
        <a:solidFill>
          <a:srgbClr val="EC008C"/>
        </a:solidFill>
      </dgm:spPr>
      <dgm:t>
        <a:bodyPr/>
        <a:lstStyle/>
        <a:p>
          <a:r>
            <a:rPr lang="fi-FI" dirty="0">
              <a:cs typeface="Calibri"/>
            </a:rPr>
            <a:t>Monosomia:</a:t>
          </a:r>
          <a:endParaRPr lang="fi-FI" dirty="0"/>
        </a:p>
      </dgm:t>
    </dgm:pt>
    <dgm:pt modelId="{96BC85D9-A93A-49D1-BA65-70053D2CC89F}" type="sibTrans" cxnId="{830C0BD5-0D11-4FD7-9B2D-89244750F12A}">
      <dgm:prSet/>
      <dgm:spPr/>
      <dgm:t>
        <a:bodyPr/>
        <a:lstStyle/>
        <a:p>
          <a:endParaRPr lang="fi-FI"/>
        </a:p>
      </dgm:t>
    </dgm:pt>
    <dgm:pt modelId="{16E036DF-4B47-4020-8E5C-580093FF8094}" type="parTrans" cxnId="{830C0BD5-0D11-4FD7-9B2D-89244750F12A}">
      <dgm:prSet/>
      <dgm:spPr/>
      <dgm:t>
        <a:bodyPr/>
        <a:lstStyle/>
        <a:p>
          <a:endParaRPr lang="fi-FI"/>
        </a:p>
      </dgm:t>
    </dgm:pt>
    <dgm:pt modelId="{FF76B10F-61C3-4D3A-BF82-2DB02B785BE9}">
      <dgm:prSet/>
      <dgm:spPr>
        <a:noFill/>
      </dgm:spPr>
      <dgm:t>
        <a:bodyPr/>
        <a:lstStyle/>
        <a:p>
          <a:r>
            <a:rPr lang="fi-FI" dirty="0">
              <a:cs typeface="Calibri"/>
            </a:rPr>
            <a:t>Yksittäisten kromosomien tai koko kromosomiston lukumäärä muuttuu</a:t>
          </a:r>
          <a:endParaRPr lang="fi-FI" dirty="0"/>
        </a:p>
      </dgm:t>
    </dgm:pt>
    <dgm:pt modelId="{E6064D6A-55E5-44E8-8D59-99223A48DE4C}" type="parTrans" cxnId="{F0267D23-1CE4-410C-B642-25FC1D543E1D}">
      <dgm:prSet/>
      <dgm:spPr/>
      <dgm:t>
        <a:bodyPr/>
        <a:lstStyle/>
        <a:p>
          <a:endParaRPr lang="fi-FI"/>
        </a:p>
      </dgm:t>
    </dgm:pt>
    <dgm:pt modelId="{A70735D0-155A-474E-A4F9-663FACADACB2}" type="sibTrans" cxnId="{F0267D23-1CE4-410C-B642-25FC1D543E1D}">
      <dgm:prSet/>
      <dgm:spPr/>
      <dgm:t>
        <a:bodyPr/>
        <a:lstStyle/>
        <a:p>
          <a:endParaRPr lang="fi-FI"/>
        </a:p>
      </dgm:t>
    </dgm:pt>
    <dgm:pt modelId="{D4D034D1-567E-4531-B6E7-6C6A2DE3FCA5}">
      <dgm:prSet/>
      <dgm:spPr>
        <a:noFill/>
      </dgm:spPr>
      <dgm:t>
        <a:bodyPr/>
        <a:lstStyle/>
        <a:p>
          <a:endParaRPr lang="fi-FI" dirty="0"/>
        </a:p>
      </dgm:t>
    </dgm:pt>
    <dgm:pt modelId="{3E89C36D-D282-443C-B5BD-6952575FE2AC}" type="parTrans" cxnId="{093A362D-B5F7-45F1-AF50-CB8D865DDCFC}">
      <dgm:prSet/>
      <dgm:spPr/>
      <dgm:t>
        <a:bodyPr/>
        <a:lstStyle/>
        <a:p>
          <a:endParaRPr lang="fi-FI"/>
        </a:p>
      </dgm:t>
    </dgm:pt>
    <dgm:pt modelId="{FD6E4A26-6DA4-4FB7-8F35-7E91C83AD8B5}" type="sibTrans" cxnId="{093A362D-B5F7-45F1-AF50-CB8D865DDCFC}">
      <dgm:prSet/>
      <dgm:spPr/>
      <dgm:t>
        <a:bodyPr/>
        <a:lstStyle/>
        <a:p>
          <a:endParaRPr lang="fi-FI"/>
        </a:p>
      </dgm:t>
    </dgm:pt>
    <dgm:pt modelId="{FB05114D-6212-494C-9387-6F4D782CFF71}">
      <dgm:prSet/>
      <dgm:spPr>
        <a:noFill/>
      </dgm:spPr>
      <dgm:t>
        <a:bodyPr/>
        <a:lstStyle/>
        <a:p>
          <a:r>
            <a:rPr lang="fi-FI" dirty="0">
              <a:cs typeface="Calibri"/>
            </a:rPr>
            <a:t>vastinkromosomiparin toinen kromosomi puuttuu</a:t>
          </a:r>
          <a:endParaRPr lang="fi-FI" dirty="0"/>
        </a:p>
      </dgm:t>
    </dgm:pt>
    <dgm:pt modelId="{6ECD4269-324C-4E61-B810-935B5517E3C1}" type="parTrans" cxnId="{B219CA2B-8877-478B-AE7F-3EBCD1D5593B}">
      <dgm:prSet/>
      <dgm:spPr/>
      <dgm:t>
        <a:bodyPr/>
        <a:lstStyle/>
        <a:p>
          <a:endParaRPr lang="fi-FI"/>
        </a:p>
      </dgm:t>
    </dgm:pt>
    <dgm:pt modelId="{F100BB86-5A9D-4750-B1B8-8AFEA5ADABB2}" type="sibTrans" cxnId="{B219CA2B-8877-478B-AE7F-3EBCD1D5593B}">
      <dgm:prSet/>
      <dgm:spPr/>
      <dgm:t>
        <a:bodyPr/>
        <a:lstStyle/>
        <a:p>
          <a:endParaRPr lang="fi-FI"/>
        </a:p>
      </dgm:t>
    </dgm:pt>
    <dgm:pt modelId="{AB08C7EA-527A-498D-A29E-349A90D0EB0A}">
      <dgm:prSet/>
      <dgm:spPr>
        <a:noFill/>
      </dgm:spPr>
      <dgm:t>
        <a:bodyPr/>
        <a:lstStyle/>
        <a:p>
          <a:endParaRPr lang="fi-FI" dirty="0"/>
        </a:p>
      </dgm:t>
    </dgm:pt>
    <dgm:pt modelId="{4AE91F76-67C7-445F-87B3-B8AE56E462C0}" type="parTrans" cxnId="{BE3BCCF8-FC8F-4CAB-8982-FA2D2BB2410D}">
      <dgm:prSet/>
      <dgm:spPr/>
      <dgm:t>
        <a:bodyPr/>
        <a:lstStyle/>
        <a:p>
          <a:endParaRPr lang="fi-FI"/>
        </a:p>
      </dgm:t>
    </dgm:pt>
    <dgm:pt modelId="{1422DDEB-FB9F-4B6F-BC4C-ED41F48D7F7E}" type="sibTrans" cxnId="{BE3BCCF8-FC8F-4CAB-8982-FA2D2BB2410D}">
      <dgm:prSet/>
      <dgm:spPr/>
      <dgm:t>
        <a:bodyPr/>
        <a:lstStyle/>
        <a:p>
          <a:endParaRPr lang="fi-FI"/>
        </a:p>
      </dgm:t>
    </dgm:pt>
    <dgm:pt modelId="{5981748A-0331-4AE8-A844-7E43D2F33BA8}">
      <dgm:prSet/>
      <dgm:spPr>
        <a:noFill/>
      </dgm:spPr>
      <dgm:t>
        <a:bodyPr/>
        <a:lstStyle/>
        <a:p>
          <a:r>
            <a:rPr lang="fi-FI" dirty="0">
              <a:cs typeface="Calibri"/>
            </a:rPr>
            <a:t>vastinkromosomeja on kahden sijasta kolme</a:t>
          </a:r>
          <a:endParaRPr lang="fi-FI" dirty="0"/>
        </a:p>
      </dgm:t>
    </dgm:pt>
    <dgm:pt modelId="{1340CDD2-C618-40E9-86BF-1020C5628DC7}" type="parTrans" cxnId="{F6835F12-A8EF-4DED-8C78-B27248D5DE6C}">
      <dgm:prSet/>
      <dgm:spPr/>
      <dgm:t>
        <a:bodyPr/>
        <a:lstStyle/>
        <a:p>
          <a:endParaRPr lang="fi-FI"/>
        </a:p>
      </dgm:t>
    </dgm:pt>
    <dgm:pt modelId="{94E73FDD-3629-4C72-965E-BA62E1F5BB0E}" type="sibTrans" cxnId="{F6835F12-A8EF-4DED-8C78-B27248D5DE6C}">
      <dgm:prSet/>
      <dgm:spPr/>
      <dgm:t>
        <a:bodyPr/>
        <a:lstStyle/>
        <a:p>
          <a:endParaRPr lang="fi-FI"/>
        </a:p>
      </dgm:t>
    </dgm:pt>
    <dgm:pt modelId="{F7EB08C1-34CC-44B9-928E-21D7A6B30AC3}">
      <dgm:prSet/>
      <dgm:spPr>
        <a:noFill/>
      </dgm:spPr>
      <dgm:t>
        <a:bodyPr/>
        <a:lstStyle/>
        <a:p>
          <a:r>
            <a:rPr lang="fi-FI" dirty="0">
              <a:cs typeface="Calibri"/>
            </a:rPr>
            <a:t>koko peruskromosomisto on monistunut</a:t>
          </a:r>
          <a:endParaRPr lang="fi-FI" dirty="0"/>
        </a:p>
      </dgm:t>
    </dgm:pt>
    <dgm:pt modelId="{9F4E19AF-3BD4-4E78-83E4-0B04E3E0CF44}" type="parTrans" cxnId="{7FE7CAE1-761E-4DDB-9D5B-994B5B1AE14E}">
      <dgm:prSet/>
      <dgm:spPr/>
      <dgm:t>
        <a:bodyPr/>
        <a:lstStyle/>
        <a:p>
          <a:endParaRPr lang="fi-FI"/>
        </a:p>
      </dgm:t>
    </dgm:pt>
    <dgm:pt modelId="{CC38C408-A193-428A-BE97-0535D9EC8075}" type="sibTrans" cxnId="{7FE7CAE1-761E-4DDB-9D5B-994B5B1AE14E}">
      <dgm:prSet/>
      <dgm:spPr/>
      <dgm:t>
        <a:bodyPr/>
        <a:lstStyle/>
        <a:p>
          <a:endParaRPr lang="fi-FI"/>
        </a:p>
      </dgm:t>
    </dgm:pt>
    <dgm:pt modelId="{9F85564D-AEF6-4569-966C-925A191CB3B9}">
      <dgm:prSet/>
      <dgm:spPr>
        <a:noFill/>
      </dgm:spPr>
      <dgm:t>
        <a:bodyPr/>
        <a:lstStyle/>
        <a:p>
          <a:endParaRPr lang="fi-FI" dirty="0"/>
        </a:p>
      </dgm:t>
    </dgm:pt>
    <dgm:pt modelId="{25B03181-43B5-455D-B5FB-7F3BA5072FCE}" type="parTrans" cxnId="{9BD7F77C-F1C3-4CE1-8A5D-D9E64E733C31}">
      <dgm:prSet/>
      <dgm:spPr/>
      <dgm:t>
        <a:bodyPr/>
        <a:lstStyle/>
        <a:p>
          <a:endParaRPr lang="fi-FI"/>
        </a:p>
      </dgm:t>
    </dgm:pt>
    <dgm:pt modelId="{7FDCB60A-1F84-47C2-833D-41EFC6A77859}" type="sibTrans" cxnId="{9BD7F77C-F1C3-4CE1-8A5D-D9E64E733C31}">
      <dgm:prSet/>
      <dgm:spPr/>
      <dgm:t>
        <a:bodyPr/>
        <a:lstStyle/>
        <a:p>
          <a:endParaRPr lang="fi-FI"/>
        </a:p>
      </dgm:t>
    </dgm:pt>
    <dgm:pt modelId="{6141034A-7930-48AD-A7C6-526547C0D3FA}">
      <dgm:prSet/>
      <dgm:spPr>
        <a:noFill/>
      </dgm:spPr>
      <dgm:t>
        <a:bodyPr/>
        <a:lstStyle/>
        <a:p>
          <a:endParaRPr lang="fi-FI" dirty="0"/>
        </a:p>
      </dgm:t>
    </dgm:pt>
    <dgm:pt modelId="{F4526CDC-3F32-4B32-A012-F369F6D1FA68}" type="parTrans" cxnId="{8FD0E110-7280-4846-92C1-5E3F7924AA4A}">
      <dgm:prSet/>
      <dgm:spPr/>
      <dgm:t>
        <a:bodyPr/>
        <a:lstStyle/>
        <a:p>
          <a:endParaRPr lang="fi-FI"/>
        </a:p>
      </dgm:t>
    </dgm:pt>
    <dgm:pt modelId="{2A8CB8EE-CDA7-449E-A1A1-BD582406CB85}" type="sibTrans" cxnId="{8FD0E110-7280-4846-92C1-5E3F7924AA4A}">
      <dgm:prSet/>
      <dgm:spPr/>
      <dgm:t>
        <a:bodyPr/>
        <a:lstStyle/>
        <a:p>
          <a:endParaRPr lang="fi-FI"/>
        </a:p>
      </dgm:t>
    </dgm:pt>
    <dgm:pt modelId="{2A2F781F-16C1-4D29-B08D-ACB557B90863}" type="pres">
      <dgm:prSet presAssocID="{2DD9BEDF-B9E2-4ABA-A056-FFA32216D3C8}" presName="linear" presStyleCnt="0">
        <dgm:presLayoutVars>
          <dgm:animLvl val="lvl"/>
          <dgm:resizeHandles val="exact"/>
        </dgm:presLayoutVars>
      </dgm:prSet>
      <dgm:spPr/>
    </dgm:pt>
    <dgm:pt modelId="{103C0909-A682-46FE-9197-CA34F8B6BD42}" type="pres">
      <dgm:prSet presAssocID="{6191DB02-BDC9-4F40-9296-F0AD3BB2C6D9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4EBE351D-8D13-4BBD-B079-A6F92376B84E}" type="pres">
      <dgm:prSet presAssocID="{6191DB02-BDC9-4F40-9296-F0AD3BB2C6D9}" presName="childText" presStyleLbl="revTx" presStyleIdx="0" presStyleCnt="4">
        <dgm:presLayoutVars>
          <dgm:bulletEnabled val="1"/>
        </dgm:presLayoutVars>
      </dgm:prSet>
      <dgm:spPr/>
    </dgm:pt>
    <dgm:pt modelId="{70D20C35-AC64-4FD9-B736-FB68AD5A5A92}" type="pres">
      <dgm:prSet presAssocID="{FDDAD744-75E2-48EC-9072-1270246F6EB9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844B4289-18AD-42B0-B8FE-CF07782BE21D}" type="pres">
      <dgm:prSet presAssocID="{FDDAD744-75E2-48EC-9072-1270246F6EB9}" presName="childText" presStyleLbl="revTx" presStyleIdx="1" presStyleCnt="4">
        <dgm:presLayoutVars>
          <dgm:bulletEnabled val="1"/>
        </dgm:presLayoutVars>
      </dgm:prSet>
      <dgm:spPr/>
    </dgm:pt>
    <dgm:pt modelId="{7D305730-1DA8-4BEB-B659-E57AF5F0F90B}" type="pres">
      <dgm:prSet presAssocID="{12F608B6-41E2-40E2-9FA6-611316810BB4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54DB264D-7344-471C-9F4A-9C7A5CD0DA85}" type="pres">
      <dgm:prSet presAssocID="{12F608B6-41E2-40E2-9FA6-611316810BB4}" presName="childText" presStyleLbl="revTx" presStyleIdx="2" presStyleCnt="4">
        <dgm:presLayoutVars>
          <dgm:bulletEnabled val="1"/>
        </dgm:presLayoutVars>
      </dgm:prSet>
      <dgm:spPr/>
    </dgm:pt>
    <dgm:pt modelId="{B4F0054F-391A-4FA8-9A4F-B26CFAD89CCE}" type="pres">
      <dgm:prSet presAssocID="{352EBE15-98F2-48FA-AA91-620738926CB5}" presName="parentText" presStyleLbl="node1" presStyleIdx="3" presStyleCnt="4">
        <dgm:presLayoutVars>
          <dgm:chMax val="0"/>
          <dgm:bulletEnabled val="1"/>
        </dgm:presLayoutVars>
      </dgm:prSet>
      <dgm:spPr/>
    </dgm:pt>
    <dgm:pt modelId="{1FF0460E-1422-42F3-9134-1D8727D7BD2B}" type="pres">
      <dgm:prSet presAssocID="{352EBE15-98F2-48FA-AA91-620738926CB5}" presName="childText" presStyleLbl="revTx" presStyleIdx="3" presStyleCnt="4">
        <dgm:presLayoutVars>
          <dgm:bulletEnabled val="1"/>
        </dgm:presLayoutVars>
      </dgm:prSet>
      <dgm:spPr/>
    </dgm:pt>
  </dgm:ptLst>
  <dgm:cxnLst>
    <dgm:cxn modelId="{79E38805-A9AD-447D-82A8-03AB264180C8}" type="presOf" srcId="{FF76B10F-61C3-4D3A-BF82-2DB02B785BE9}" destId="{4EBE351D-8D13-4BBD-B079-A6F92376B84E}" srcOrd="0" destOrd="0" presId="urn:microsoft.com/office/officeart/2005/8/layout/vList2"/>
    <dgm:cxn modelId="{BAFB310B-6300-41D2-8283-595FCE68A963}" type="presOf" srcId="{352EBE15-98F2-48FA-AA91-620738926CB5}" destId="{B4F0054F-391A-4FA8-9A4F-B26CFAD89CCE}" srcOrd="0" destOrd="0" presId="urn:microsoft.com/office/officeart/2005/8/layout/vList2"/>
    <dgm:cxn modelId="{14F68F0F-2CA9-4E8E-8683-6DD489D5FB4E}" type="presOf" srcId="{6191DB02-BDC9-4F40-9296-F0AD3BB2C6D9}" destId="{103C0909-A682-46FE-9197-CA34F8B6BD42}" srcOrd="0" destOrd="0" presId="urn:microsoft.com/office/officeart/2005/8/layout/vList2"/>
    <dgm:cxn modelId="{8FD0E110-7280-4846-92C1-5E3F7924AA4A}" srcId="{12F608B6-41E2-40E2-9FA6-611316810BB4}" destId="{6141034A-7930-48AD-A7C6-526547C0D3FA}" srcOrd="1" destOrd="0" parTransId="{F4526CDC-3F32-4B32-A012-F369F6D1FA68}" sibTransId="{2A8CB8EE-CDA7-449E-A1A1-BD582406CB85}"/>
    <dgm:cxn modelId="{8699EC10-433C-469C-83B4-2E62720BCF38}" type="presOf" srcId="{9F85564D-AEF6-4569-966C-925A191CB3B9}" destId="{1FF0460E-1422-42F3-9134-1D8727D7BD2B}" srcOrd="0" destOrd="1" presId="urn:microsoft.com/office/officeart/2005/8/layout/vList2"/>
    <dgm:cxn modelId="{F6835F12-A8EF-4DED-8C78-B27248D5DE6C}" srcId="{12F608B6-41E2-40E2-9FA6-611316810BB4}" destId="{5981748A-0331-4AE8-A844-7E43D2F33BA8}" srcOrd="0" destOrd="0" parTransId="{1340CDD2-C618-40E9-86BF-1020C5628DC7}" sibTransId="{94E73FDD-3629-4C72-965E-BA62E1F5BB0E}"/>
    <dgm:cxn modelId="{F0267D23-1CE4-410C-B642-25FC1D543E1D}" srcId="{6191DB02-BDC9-4F40-9296-F0AD3BB2C6D9}" destId="{FF76B10F-61C3-4D3A-BF82-2DB02B785BE9}" srcOrd="0" destOrd="0" parTransId="{E6064D6A-55E5-44E8-8D59-99223A48DE4C}" sibTransId="{A70735D0-155A-474E-A4F9-663FACADACB2}"/>
    <dgm:cxn modelId="{B219CA2B-8877-478B-AE7F-3EBCD1D5593B}" srcId="{FDDAD744-75E2-48EC-9072-1270246F6EB9}" destId="{FB05114D-6212-494C-9387-6F4D782CFF71}" srcOrd="0" destOrd="0" parTransId="{6ECD4269-324C-4E61-B810-935B5517E3C1}" sibTransId="{F100BB86-5A9D-4750-B1B8-8AFEA5ADABB2}"/>
    <dgm:cxn modelId="{093A362D-B5F7-45F1-AF50-CB8D865DDCFC}" srcId="{6191DB02-BDC9-4F40-9296-F0AD3BB2C6D9}" destId="{D4D034D1-567E-4531-B6E7-6C6A2DE3FCA5}" srcOrd="1" destOrd="0" parTransId="{3E89C36D-D282-443C-B5BD-6952575FE2AC}" sibTransId="{FD6E4A26-6DA4-4FB7-8F35-7E91C83AD8B5}"/>
    <dgm:cxn modelId="{99FE1831-E147-484B-BF1F-F074F97F49B4}" type="presOf" srcId="{AB08C7EA-527A-498D-A29E-349A90D0EB0A}" destId="{844B4289-18AD-42B0-B8FE-CF07782BE21D}" srcOrd="0" destOrd="1" presId="urn:microsoft.com/office/officeart/2005/8/layout/vList2"/>
    <dgm:cxn modelId="{CF923A3E-3621-488A-8303-D9A8794C17DD}" srcId="{2DD9BEDF-B9E2-4ABA-A056-FFA32216D3C8}" destId="{12F608B6-41E2-40E2-9FA6-611316810BB4}" srcOrd="2" destOrd="0" parTransId="{1603F303-3FA8-48C6-96DA-ED0EAA93A1AD}" sibTransId="{43615E84-C10F-41AA-890C-DDBF0CBA4DAD}"/>
    <dgm:cxn modelId="{8F42755E-7393-47D1-8B23-C4324CD204CA}" type="presOf" srcId="{FDDAD744-75E2-48EC-9072-1270246F6EB9}" destId="{70D20C35-AC64-4FD9-B736-FB68AD5A5A92}" srcOrd="0" destOrd="0" presId="urn:microsoft.com/office/officeart/2005/8/layout/vList2"/>
    <dgm:cxn modelId="{6D2EA35F-2E1B-4A80-B4E8-8A8ABEA2A609}" srcId="{2DD9BEDF-B9E2-4ABA-A056-FFA32216D3C8}" destId="{352EBE15-98F2-48FA-AA91-620738926CB5}" srcOrd="3" destOrd="0" parTransId="{866DE8EE-68A5-423F-9754-CED37EF21DD9}" sibTransId="{DA950823-FFDC-4AA5-B88C-574FD834E60B}"/>
    <dgm:cxn modelId="{D452B261-B042-468A-9D2D-E7E7727AC928}" type="presOf" srcId="{F7EB08C1-34CC-44B9-928E-21D7A6B30AC3}" destId="{1FF0460E-1422-42F3-9134-1D8727D7BD2B}" srcOrd="0" destOrd="0" presId="urn:microsoft.com/office/officeart/2005/8/layout/vList2"/>
    <dgm:cxn modelId="{705C8768-1311-4EE0-90C6-BD7623FA6E23}" srcId="{2DD9BEDF-B9E2-4ABA-A056-FFA32216D3C8}" destId="{6191DB02-BDC9-4F40-9296-F0AD3BB2C6D9}" srcOrd="0" destOrd="0" parTransId="{2828203E-282B-464C-8C5D-521B0A0FF0EB}" sibTransId="{196BF26C-3554-42C7-B0EA-C5D0A1084313}"/>
    <dgm:cxn modelId="{E64A2577-3BD3-4628-BE98-A8570875E39F}" type="presOf" srcId="{6141034A-7930-48AD-A7C6-526547C0D3FA}" destId="{54DB264D-7344-471C-9F4A-9C7A5CD0DA85}" srcOrd="0" destOrd="1" presId="urn:microsoft.com/office/officeart/2005/8/layout/vList2"/>
    <dgm:cxn modelId="{9BD7F77C-F1C3-4CE1-8A5D-D9E64E733C31}" srcId="{352EBE15-98F2-48FA-AA91-620738926CB5}" destId="{9F85564D-AEF6-4569-966C-925A191CB3B9}" srcOrd="1" destOrd="0" parTransId="{25B03181-43B5-455D-B5FB-7F3BA5072FCE}" sibTransId="{7FDCB60A-1F84-47C2-833D-41EFC6A77859}"/>
    <dgm:cxn modelId="{46D4F27F-AB84-4E4C-9F04-FC25D2D83536}" type="presOf" srcId="{D4D034D1-567E-4531-B6E7-6C6A2DE3FCA5}" destId="{4EBE351D-8D13-4BBD-B079-A6F92376B84E}" srcOrd="0" destOrd="1" presId="urn:microsoft.com/office/officeart/2005/8/layout/vList2"/>
    <dgm:cxn modelId="{F2173EB4-B404-44AC-B168-99B9F90F446D}" type="presOf" srcId="{5981748A-0331-4AE8-A844-7E43D2F33BA8}" destId="{54DB264D-7344-471C-9F4A-9C7A5CD0DA85}" srcOrd="0" destOrd="0" presId="urn:microsoft.com/office/officeart/2005/8/layout/vList2"/>
    <dgm:cxn modelId="{BCA11DBE-513F-4330-B357-F46843F9E525}" type="presOf" srcId="{FB05114D-6212-494C-9387-6F4D782CFF71}" destId="{844B4289-18AD-42B0-B8FE-CF07782BE21D}" srcOrd="0" destOrd="0" presId="urn:microsoft.com/office/officeart/2005/8/layout/vList2"/>
    <dgm:cxn modelId="{80B36DC0-A1CA-42E5-B78A-79BFF3C79841}" type="presOf" srcId="{2DD9BEDF-B9E2-4ABA-A056-FFA32216D3C8}" destId="{2A2F781F-16C1-4D29-B08D-ACB557B90863}" srcOrd="0" destOrd="0" presId="urn:microsoft.com/office/officeart/2005/8/layout/vList2"/>
    <dgm:cxn modelId="{830C0BD5-0D11-4FD7-9B2D-89244750F12A}" srcId="{2DD9BEDF-B9E2-4ABA-A056-FFA32216D3C8}" destId="{FDDAD744-75E2-48EC-9072-1270246F6EB9}" srcOrd="1" destOrd="0" parTransId="{16E036DF-4B47-4020-8E5C-580093FF8094}" sibTransId="{96BC85D9-A93A-49D1-BA65-70053D2CC89F}"/>
    <dgm:cxn modelId="{7FE7CAE1-761E-4DDB-9D5B-994B5B1AE14E}" srcId="{352EBE15-98F2-48FA-AA91-620738926CB5}" destId="{F7EB08C1-34CC-44B9-928E-21D7A6B30AC3}" srcOrd="0" destOrd="0" parTransId="{9F4E19AF-3BD4-4E78-83E4-0B04E3E0CF44}" sibTransId="{CC38C408-A193-428A-BE97-0535D9EC8075}"/>
    <dgm:cxn modelId="{D6D280F1-D72C-41FD-9F26-AEC1EAF65DA4}" type="presOf" srcId="{12F608B6-41E2-40E2-9FA6-611316810BB4}" destId="{7D305730-1DA8-4BEB-B659-E57AF5F0F90B}" srcOrd="0" destOrd="0" presId="urn:microsoft.com/office/officeart/2005/8/layout/vList2"/>
    <dgm:cxn modelId="{BE3BCCF8-FC8F-4CAB-8982-FA2D2BB2410D}" srcId="{FDDAD744-75E2-48EC-9072-1270246F6EB9}" destId="{AB08C7EA-527A-498D-A29E-349A90D0EB0A}" srcOrd="1" destOrd="0" parTransId="{4AE91F76-67C7-445F-87B3-B8AE56E462C0}" sibTransId="{1422DDEB-FB9F-4B6F-BC4C-ED41F48D7F7E}"/>
    <dgm:cxn modelId="{B8E57260-8134-437A-AD3A-4AD0F0C9B719}" type="presParOf" srcId="{2A2F781F-16C1-4D29-B08D-ACB557B90863}" destId="{103C0909-A682-46FE-9197-CA34F8B6BD42}" srcOrd="0" destOrd="0" presId="urn:microsoft.com/office/officeart/2005/8/layout/vList2"/>
    <dgm:cxn modelId="{3195696B-7979-4C32-BBF9-374AF2B98BA5}" type="presParOf" srcId="{2A2F781F-16C1-4D29-B08D-ACB557B90863}" destId="{4EBE351D-8D13-4BBD-B079-A6F92376B84E}" srcOrd="1" destOrd="0" presId="urn:microsoft.com/office/officeart/2005/8/layout/vList2"/>
    <dgm:cxn modelId="{C81136A1-47F1-4AE8-9D5E-71887F2BA7E1}" type="presParOf" srcId="{2A2F781F-16C1-4D29-B08D-ACB557B90863}" destId="{70D20C35-AC64-4FD9-B736-FB68AD5A5A92}" srcOrd="2" destOrd="0" presId="urn:microsoft.com/office/officeart/2005/8/layout/vList2"/>
    <dgm:cxn modelId="{D28DD079-AF63-4C71-8388-D96CA962227C}" type="presParOf" srcId="{2A2F781F-16C1-4D29-B08D-ACB557B90863}" destId="{844B4289-18AD-42B0-B8FE-CF07782BE21D}" srcOrd="3" destOrd="0" presId="urn:microsoft.com/office/officeart/2005/8/layout/vList2"/>
    <dgm:cxn modelId="{83AA6F6A-8F40-494D-82E3-79D669F5F767}" type="presParOf" srcId="{2A2F781F-16C1-4D29-B08D-ACB557B90863}" destId="{7D305730-1DA8-4BEB-B659-E57AF5F0F90B}" srcOrd="4" destOrd="0" presId="urn:microsoft.com/office/officeart/2005/8/layout/vList2"/>
    <dgm:cxn modelId="{7676A854-CBD2-44EA-8D0B-9C8CB7DC0000}" type="presParOf" srcId="{2A2F781F-16C1-4D29-B08D-ACB557B90863}" destId="{54DB264D-7344-471C-9F4A-9C7A5CD0DA85}" srcOrd="5" destOrd="0" presId="urn:microsoft.com/office/officeart/2005/8/layout/vList2"/>
    <dgm:cxn modelId="{4CFD748F-AAC2-4062-8A11-624201FA89E7}" type="presParOf" srcId="{2A2F781F-16C1-4D29-B08D-ACB557B90863}" destId="{B4F0054F-391A-4FA8-9A4F-B26CFAD89CCE}" srcOrd="6" destOrd="0" presId="urn:microsoft.com/office/officeart/2005/8/layout/vList2"/>
    <dgm:cxn modelId="{0A14C212-D4F8-46EE-9A08-8A46476ACDBA}" type="presParOf" srcId="{2A2F781F-16C1-4D29-B08D-ACB557B90863}" destId="{1FF0460E-1422-42F3-9134-1D8727D7BD2B}" srcOrd="7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033DC3D-C63F-43D1-8859-07FC97577F71}">
      <dsp:nvSpPr>
        <dsp:cNvPr id="0" name=""/>
        <dsp:cNvSpPr/>
      </dsp:nvSpPr>
      <dsp:spPr>
        <a:xfrm>
          <a:off x="0" y="384"/>
          <a:ext cx="10515600" cy="598413"/>
        </a:xfrm>
        <a:prstGeom prst="roundRect">
          <a:avLst/>
        </a:prstGeom>
        <a:solidFill>
          <a:srgbClr val="F27CB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800" kern="1200" dirty="0"/>
            <a:t>Suvullisesti lisääntyvät eliöt tuottavat sukusoluja</a:t>
          </a:r>
        </a:p>
      </dsp:txBody>
      <dsp:txXfrm>
        <a:off x="29212" y="29596"/>
        <a:ext cx="10457176" cy="539989"/>
      </dsp:txXfrm>
    </dsp:sp>
    <dsp:sp modelId="{DCC5FB86-1936-400D-B1D5-1AACF01901D7}">
      <dsp:nvSpPr>
        <dsp:cNvPr id="0" name=""/>
        <dsp:cNvSpPr/>
      </dsp:nvSpPr>
      <dsp:spPr>
        <a:xfrm>
          <a:off x="0" y="611497"/>
          <a:ext cx="10515600" cy="598413"/>
        </a:xfrm>
        <a:prstGeom prst="roundRect">
          <a:avLst/>
        </a:prstGeom>
        <a:solidFill>
          <a:srgbClr val="F27CB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800" kern="1200" dirty="0">
              <a:cs typeface="Calibri"/>
            </a:rPr>
            <a:t>Sukusolut syntyvät sukurauhasissa</a:t>
          </a:r>
          <a:endParaRPr lang="fi-FI" sz="2800" kern="1200" dirty="0"/>
        </a:p>
      </dsp:txBody>
      <dsp:txXfrm>
        <a:off x="29212" y="640709"/>
        <a:ext cx="10457176" cy="539989"/>
      </dsp:txXfrm>
    </dsp:sp>
    <dsp:sp modelId="{BF0E073F-8C4E-4D65-A58F-5B2B4499510F}">
      <dsp:nvSpPr>
        <dsp:cNvPr id="0" name=""/>
        <dsp:cNvSpPr/>
      </dsp:nvSpPr>
      <dsp:spPr>
        <a:xfrm>
          <a:off x="0" y="1222609"/>
          <a:ext cx="10515600" cy="598413"/>
        </a:xfrm>
        <a:prstGeom prst="roundRect">
          <a:avLst/>
        </a:prstGeom>
        <a:solidFill>
          <a:srgbClr val="F27CB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charset="0"/>
            <a:buNone/>
          </a:pPr>
          <a:r>
            <a:rPr lang="fi-FI" sz="2800" kern="1200" dirty="0">
              <a:cs typeface="Calibri"/>
            </a:rPr>
            <a:t>Siittiöt ja munasolut, siemenkasveilla siitepöly ja munasolut</a:t>
          </a:r>
          <a:endParaRPr lang="fi-FI" sz="2800" kern="1200" dirty="0"/>
        </a:p>
      </dsp:txBody>
      <dsp:txXfrm>
        <a:off x="29212" y="1251821"/>
        <a:ext cx="10457176" cy="539989"/>
      </dsp:txXfrm>
    </dsp:sp>
    <dsp:sp modelId="{16CCDA81-F57B-4812-BBF1-7B588E1E309B}">
      <dsp:nvSpPr>
        <dsp:cNvPr id="0" name=""/>
        <dsp:cNvSpPr/>
      </dsp:nvSpPr>
      <dsp:spPr>
        <a:xfrm>
          <a:off x="0" y="1833721"/>
          <a:ext cx="10515600" cy="598413"/>
        </a:xfrm>
        <a:prstGeom prst="roundRect">
          <a:avLst/>
        </a:prstGeom>
        <a:solidFill>
          <a:srgbClr val="F27CB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charset="0"/>
            <a:buNone/>
          </a:pPr>
          <a:r>
            <a:rPr lang="fi-FI" sz="2800" kern="1200" dirty="0"/>
            <a:t>Sukusolujen syntyyn johtavaa tumanjakautumista kutsutaan meioosiksi</a:t>
          </a:r>
        </a:p>
      </dsp:txBody>
      <dsp:txXfrm>
        <a:off x="29212" y="1862933"/>
        <a:ext cx="10457176" cy="539989"/>
      </dsp:txXfrm>
    </dsp:sp>
    <dsp:sp modelId="{3C0AAD75-8B4D-460B-AD37-69EB86021A49}">
      <dsp:nvSpPr>
        <dsp:cNvPr id="0" name=""/>
        <dsp:cNvSpPr/>
      </dsp:nvSpPr>
      <dsp:spPr>
        <a:xfrm>
          <a:off x="0" y="2444834"/>
          <a:ext cx="10515600" cy="598413"/>
        </a:xfrm>
        <a:prstGeom prst="roundRect">
          <a:avLst/>
        </a:prstGeom>
        <a:solidFill>
          <a:srgbClr val="F27CB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charset="0"/>
            <a:buNone/>
          </a:pPr>
          <a:r>
            <a:rPr lang="fi-FI" sz="2800" kern="1200"/>
            <a:t>Sukusolujen kromosomisto on yksinkertainen eli haploidinen</a:t>
          </a:r>
          <a:endParaRPr lang="fi-FI" sz="2800" kern="1200" dirty="0"/>
        </a:p>
      </dsp:txBody>
      <dsp:txXfrm>
        <a:off x="29212" y="2474046"/>
        <a:ext cx="10457176" cy="53998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03C0909-A682-46FE-9197-CA34F8B6BD42}">
      <dsp:nvSpPr>
        <dsp:cNvPr id="0" name=""/>
        <dsp:cNvSpPr/>
      </dsp:nvSpPr>
      <dsp:spPr>
        <a:xfrm>
          <a:off x="0" y="39606"/>
          <a:ext cx="10515600" cy="794503"/>
        </a:xfrm>
        <a:prstGeom prst="roundRect">
          <a:avLst/>
        </a:prstGeom>
        <a:solidFill>
          <a:srgbClr val="EC008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000" kern="1200" dirty="0"/>
            <a:t>Kullakin lajilla on sille ominainen määrä kromosomeja</a:t>
          </a:r>
        </a:p>
      </dsp:txBody>
      <dsp:txXfrm>
        <a:off x="38784" y="78390"/>
        <a:ext cx="10438032" cy="716935"/>
      </dsp:txXfrm>
    </dsp:sp>
    <dsp:sp modelId="{2A7433A9-AD7E-447A-BD6E-7EE09B7CC41D}">
      <dsp:nvSpPr>
        <dsp:cNvPr id="0" name=""/>
        <dsp:cNvSpPr/>
      </dsp:nvSpPr>
      <dsp:spPr>
        <a:xfrm>
          <a:off x="0" y="834109"/>
          <a:ext cx="10515600" cy="5485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3870" tIns="25400" rIns="142240" bIns="2540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1600" kern="1200" dirty="0"/>
            <a:t>Ihmisellä kromosomeja on 46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endParaRPr lang="fi-FI" sz="1600" kern="1200" dirty="0"/>
        </a:p>
      </dsp:txBody>
      <dsp:txXfrm>
        <a:off x="0" y="834109"/>
        <a:ext cx="10515600" cy="548550"/>
      </dsp:txXfrm>
    </dsp:sp>
    <dsp:sp modelId="{70D20C35-AC64-4FD9-B736-FB68AD5A5A92}">
      <dsp:nvSpPr>
        <dsp:cNvPr id="0" name=""/>
        <dsp:cNvSpPr/>
      </dsp:nvSpPr>
      <dsp:spPr>
        <a:xfrm>
          <a:off x="0" y="1382659"/>
          <a:ext cx="10515600" cy="794503"/>
        </a:xfrm>
        <a:prstGeom prst="roundRect">
          <a:avLst/>
        </a:prstGeom>
        <a:solidFill>
          <a:srgbClr val="F27CB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000" kern="1200" dirty="0"/>
            <a:t>Ihmisen kromosomeista puolet on peräisin isän sukusolusta (23) ja puolet äidin sukusolusta (23)</a:t>
          </a:r>
        </a:p>
      </dsp:txBody>
      <dsp:txXfrm>
        <a:off x="38784" y="1421443"/>
        <a:ext cx="10438032" cy="716935"/>
      </dsp:txXfrm>
    </dsp:sp>
    <dsp:sp modelId="{0E8D784E-0557-4241-93B9-7D45F47B65AE}">
      <dsp:nvSpPr>
        <dsp:cNvPr id="0" name=""/>
        <dsp:cNvSpPr/>
      </dsp:nvSpPr>
      <dsp:spPr>
        <a:xfrm>
          <a:off x="0" y="2177163"/>
          <a:ext cx="10515600" cy="828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3870" tIns="25400" rIns="142240" bIns="2540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1600" kern="1200" dirty="0"/>
            <a:t>sukusolujen kromosomisto on ns. peruskromosomisto eli haploidinen kromosomisto (n)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1600" kern="1200" dirty="0"/>
            <a:t>siinä kutakin kromosomia on yksi kappale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endParaRPr lang="fi-FI" sz="1600" kern="1200" dirty="0"/>
        </a:p>
      </dsp:txBody>
      <dsp:txXfrm>
        <a:off x="0" y="2177163"/>
        <a:ext cx="10515600" cy="828000"/>
      </dsp:txXfrm>
    </dsp:sp>
    <dsp:sp modelId="{7D305730-1DA8-4BEB-B659-E57AF5F0F90B}">
      <dsp:nvSpPr>
        <dsp:cNvPr id="0" name=""/>
        <dsp:cNvSpPr/>
      </dsp:nvSpPr>
      <dsp:spPr>
        <a:xfrm>
          <a:off x="0" y="3005163"/>
          <a:ext cx="10515600" cy="794503"/>
        </a:xfrm>
        <a:prstGeom prst="roundRect">
          <a:avLst/>
        </a:prstGeom>
        <a:solidFill>
          <a:srgbClr val="F599C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charset="0"/>
            <a:buNone/>
          </a:pPr>
          <a:r>
            <a:rPr lang="fi-FI" sz="2000" kern="1200" dirty="0"/>
            <a:t>Koska solussa kutakin kromosomia on kaksi kappaletta, puhutaan diploidisesta kromosomistosta (2n)</a:t>
          </a:r>
        </a:p>
      </dsp:txBody>
      <dsp:txXfrm>
        <a:off x="38784" y="3043947"/>
        <a:ext cx="10438032" cy="716935"/>
      </dsp:txXfrm>
    </dsp:sp>
    <dsp:sp modelId="{77645254-E134-4E95-B777-B945C532F26C}">
      <dsp:nvSpPr>
        <dsp:cNvPr id="0" name=""/>
        <dsp:cNvSpPr/>
      </dsp:nvSpPr>
      <dsp:spPr>
        <a:xfrm>
          <a:off x="0" y="3799666"/>
          <a:ext cx="10515600" cy="5485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3870" tIns="25400" rIns="142240" bIns="2540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charset="0"/>
            <a:buChar char="•"/>
          </a:pPr>
          <a:r>
            <a:rPr lang="fi-FI" sz="1600" kern="1200" dirty="0"/>
            <a:t>toisiaan vastaavia kromosomeja kutsutaan vastinkromosomeiksi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charset="0"/>
            <a:buChar char="•"/>
          </a:pPr>
          <a:endParaRPr lang="fi-FI" sz="1600" kern="1200" dirty="0"/>
        </a:p>
      </dsp:txBody>
      <dsp:txXfrm>
        <a:off x="0" y="3799666"/>
        <a:ext cx="10515600" cy="54855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03C0909-A682-46FE-9197-CA34F8B6BD42}">
      <dsp:nvSpPr>
        <dsp:cNvPr id="0" name=""/>
        <dsp:cNvSpPr/>
      </dsp:nvSpPr>
      <dsp:spPr>
        <a:xfrm>
          <a:off x="0" y="157556"/>
          <a:ext cx="9542489" cy="715052"/>
        </a:xfrm>
        <a:prstGeom prst="roundRect">
          <a:avLst/>
        </a:prstGeom>
        <a:solidFill>
          <a:srgbClr val="EC008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800" kern="1200" dirty="0"/>
            <a:t>Meioosi lisää perinnöllistä eli geneettistä muuntelua</a:t>
          </a:r>
        </a:p>
      </dsp:txBody>
      <dsp:txXfrm>
        <a:off x="34906" y="192462"/>
        <a:ext cx="9472677" cy="645240"/>
      </dsp:txXfrm>
    </dsp:sp>
    <dsp:sp modelId="{70D20C35-AC64-4FD9-B736-FB68AD5A5A92}">
      <dsp:nvSpPr>
        <dsp:cNvPr id="0" name=""/>
        <dsp:cNvSpPr/>
      </dsp:nvSpPr>
      <dsp:spPr>
        <a:xfrm>
          <a:off x="0" y="924449"/>
          <a:ext cx="9542489" cy="715052"/>
        </a:xfrm>
        <a:prstGeom prst="roundRect">
          <a:avLst/>
        </a:prstGeom>
        <a:solidFill>
          <a:srgbClr val="EC008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800" kern="1200">
              <a:cs typeface="Calibri"/>
            </a:rPr>
            <a:t>Mutaatiot</a:t>
          </a:r>
          <a:endParaRPr lang="fi-FI" sz="1800" kern="1200" dirty="0"/>
        </a:p>
      </dsp:txBody>
      <dsp:txXfrm>
        <a:off x="34906" y="959355"/>
        <a:ext cx="9472677" cy="645240"/>
      </dsp:txXfrm>
    </dsp:sp>
    <dsp:sp modelId="{7D305730-1DA8-4BEB-B659-E57AF5F0F90B}">
      <dsp:nvSpPr>
        <dsp:cNvPr id="0" name=""/>
        <dsp:cNvSpPr/>
      </dsp:nvSpPr>
      <dsp:spPr>
        <a:xfrm>
          <a:off x="0" y="1691342"/>
          <a:ext cx="9542489" cy="715052"/>
        </a:xfrm>
        <a:prstGeom prst="roundRect">
          <a:avLst/>
        </a:prstGeom>
        <a:solidFill>
          <a:srgbClr val="EC008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charset="0"/>
            <a:buNone/>
          </a:pPr>
          <a:r>
            <a:rPr lang="fi-FI" sz="1800" kern="1200"/>
            <a:t>Geneettinen rekombinaatio = sukusolujen erilaisuus</a:t>
          </a:r>
          <a:endParaRPr lang="fi-FI" sz="1800" kern="1200" dirty="0"/>
        </a:p>
      </dsp:txBody>
      <dsp:txXfrm>
        <a:off x="34906" y="1726248"/>
        <a:ext cx="9472677" cy="645240"/>
      </dsp:txXfrm>
    </dsp:sp>
    <dsp:sp modelId="{77645254-E134-4E95-B777-B945C532F26C}">
      <dsp:nvSpPr>
        <dsp:cNvPr id="0" name=""/>
        <dsp:cNvSpPr/>
      </dsp:nvSpPr>
      <dsp:spPr>
        <a:xfrm>
          <a:off x="0" y="2406394"/>
          <a:ext cx="9542489" cy="7265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2974" tIns="22860" rIns="128016" bIns="2286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charset="0"/>
            <a:buChar char="•"/>
          </a:pPr>
          <a:r>
            <a:rPr lang="fi-FI" sz="1400" kern="1200"/>
            <a:t>Jokaisessa sukusolussa on erilainen yhdistelmä äidiltä ja isältä saatuja kromosomeja</a:t>
          </a:r>
          <a:endParaRPr lang="fi-FI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charset="0"/>
            <a:buChar char="•"/>
          </a:pPr>
          <a:r>
            <a:rPr lang="fi-FI" sz="1400" kern="1200" dirty="0"/>
            <a:t>Vastinkromosomit voivat vaihtaa paloja kromosomista (tekijäinvaihdunta), mikä johtaa erilaisten sukusolujen syntyyn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charset="0"/>
            <a:buChar char="•"/>
          </a:pPr>
          <a:endParaRPr lang="fi-FI" sz="1400" kern="1200" dirty="0"/>
        </a:p>
      </dsp:txBody>
      <dsp:txXfrm>
        <a:off x="0" y="2406394"/>
        <a:ext cx="9542489" cy="726570"/>
      </dsp:txXfrm>
    </dsp:sp>
    <dsp:sp modelId="{B4F0054F-391A-4FA8-9A4F-B26CFAD89CCE}">
      <dsp:nvSpPr>
        <dsp:cNvPr id="0" name=""/>
        <dsp:cNvSpPr/>
      </dsp:nvSpPr>
      <dsp:spPr>
        <a:xfrm>
          <a:off x="0" y="3132964"/>
          <a:ext cx="9542489" cy="715052"/>
        </a:xfrm>
        <a:prstGeom prst="roundRect">
          <a:avLst/>
        </a:prstGeom>
        <a:solidFill>
          <a:srgbClr val="EC008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800" kern="1200" dirty="0"/>
            <a:t>Geneettinen muuntelu eli jälkeläisten erilaisuus johtuu sukusolujen erilaisuudesta, sukusolujen sattumanvaraisesta yhdistymisestä ja sukusolujen suuresta määrästä</a:t>
          </a:r>
        </a:p>
      </dsp:txBody>
      <dsp:txXfrm>
        <a:off x="34906" y="3167870"/>
        <a:ext cx="9472677" cy="64524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03C0909-A682-46FE-9197-CA34F8B6BD42}">
      <dsp:nvSpPr>
        <dsp:cNvPr id="0" name=""/>
        <dsp:cNvSpPr/>
      </dsp:nvSpPr>
      <dsp:spPr>
        <a:xfrm>
          <a:off x="0" y="5252"/>
          <a:ext cx="9939728" cy="503685"/>
        </a:xfrm>
        <a:prstGeom prst="roundRect">
          <a:avLst/>
        </a:prstGeom>
        <a:solidFill>
          <a:srgbClr val="EC008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100" kern="1200" dirty="0">
              <a:cs typeface="Calibri"/>
            </a:rPr>
            <a:t>Kromosomistomutaatio:</a:t>
          </a:r>
          <a:endParaRPr lang="fi-FI" sz="2100" kern="1200" dirty="0"/>
        </a:p>
      </dsp:txBody>
      <dsp:txXfrm>
        <a:off x="24588" y="29840"/>
        <a:ext cx="9890552" cy="454509"/>
      </dsp:txXfrm>
    </dsp:sp>
    <dsp:sp modelId="{4EBE351D-8D13-4BBD-B079-A6F92376B84E}">
      <dsp:nvSpPr>
        <dsp:cNvPr id="0" name=""/>
        <dsp:cNvSpPr/>
      </dsp:nvSpPr>
      <dsp:spPr>
        <a:xfrm>
          <a:off x="0" y="508937"/>
          <a:ext cx="9939728" cy="55424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15586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1600" kern="1200" dirty="0">
              <a:cs typeface="Calibri"/>
            </a:rPr>
            <a:t>Yksittäisten kromosomien tai koko kromosomiston lukumäärä muuttuu</a:t>
          </a:r>
          <a:endParaRPr lang="fi-FI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endParaRPr lang="fi-FI" sz="1600" kern="1200" dirty="0"/>
        </a:p>
      </dsp:txBody>
      <dsp:txXfrm>
        <a:off x="0" y="508937"/>
        <a:ext cx="9939728" cy="554242"/>
      </dsp:txXfrm>
    </dsp:sp>
    <dsp:sp modelId="{70D20C35-AC64-4FD9-B736-FB68AD5A5A92}">
      <dsp:nvSpPr>
        <dsp:cNvPr id="0" name=""/>
        <dsp:cNvSpPr/>
      </dsp:nvSpPr>
      <dsp:spPr>
        <a:xfrm>
          <a:off x="0" y="1063180"/>
          <a:ext cx="9939728" cy="503685"/>
        </a:xfrm>
        <a:prstGeom prst="roundRect">
          <a:avLst/>
        </a:prstGeom>
        <a:solidFill>
          <a:srgbClr val="EC008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100" kern="1200" dirty="0">
              <a:cs typeface="Calibri"/>
            </a:rPr>
            <a:t>Monosomia:</a:t>
          </a:r>
          <a:endParaRPr lang="fi-FI" sz="2100" kern="1200" dirty="0"/>
        </a:p>
      </dsp:txBody>
      <dsp:txXfrm>
        <a:off x="24588" y="1087768"/>
        <a:ext cx="9890552" cy="454509"/>
      </dsp:txXfrm>
    </dsp:sp>
    <dsp:sp modelId="{844B4289-18AD-42B0-B8FE-CF07782BE21D}">
      <dsp:nvSpPr>
        <dsp:cNvPr id="0" name=""/>
        <dsp:cNvSpPr/>
      </dsp:nvSpPr>
      <dsp:spPr>
        <a:xfrm>
          <a:off x="0" y="1566865"/>
          <a:ext cx="9939728" cy="55424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15586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1600" kern="1200" dirty="0">
              <a:cs typeface="Calibri"/>
            </a:rPr>
            <a:t>vastinkromosomiparin toinen kromosomi puuttuu</a:t>
          </a:r>
          <a:endParaRPr lang="fi-FI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endParaRPr lang="fi-FI" sz="1600" kern="1200" dirty="0"/>
        </a:p>
      </dsp:txBody>
      <dsp:txXfrm>
        <a:off x="0" y="1566865"/>
        <a:ext cx="9939728" cy="554242"/>
      </dsp:txXfrm>
    </dsp:sp>
    <dsp:sp modelId="{7D305730-1DA8-4BEB-B659-E57AF5F0F90B}">
      <dsp:nvSpPr>
        <dsp:cNvPr id="0" name=""/>
        <dsp:cNvSpPr/>
      </dsp:nvSpPr>
      <dsp:spPr>
        <a:xfrm>
          <a:off x="0" y="2121108"/>
          <a:ext cx="9939728" cy="503685"/>
        </a:xfrm>
        <a:prstGeom prst="roundRect">
          <a:avLst/>
        </a:prstGeom>
        <a:solidFill>
          <a:srgbClr val="EC008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charset="0"/>
            <a:buNone/>
          </a:pPr>
          <a:r>
            <a:rPr lang="fi-FI" sz="2100" kern="1200" dirty="0">
              <a:cs typeface="Calibri"/>
            </a:rPr>
            <a:t>Trisomia:</a:t>
          </a:r>
          <a:endParaRPr lang="fi-FI" sz="2100" kern="1200" dirty="0"/>
        </a:p>
      </dsp:txBody>
      <dsp:txXfrm>
        <a:off x="24588" y="2145696"/>
        <a:ext cx="9890552" cy="454509"/>
      </dsp:txXfrm>
    </dsp:sp>
    <dsp:sp modelId="{54DB264D-7344-471C-9F4A-9C7A5CD0DA85}">
      <dsp:nvSpPr>
        <dsp:cNvPr id="0" name=""/>
        <dsp:cNvSpPr/>
      </dsp:nvSpPr>
      <dsp:spPr>
        <a:xfrm>
          <a:off x="0" y="2624792"/>
          <a:ext cx="9939728" cy="55424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15586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1600" kern="1200" dirty="0">
              <a:cs typeface="Calibri"/>
            </a:rPr>
            <a:t>vastinkromosomeja on kahden sijasta kolme</a:t>
          </a:r>
          <a:endParaRPr lang="fi-FI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endParaRPr lang="fi-FI" sz="1600" kern="1200" dirty="0"/>
        </a:p>
      </dsp:txBody>
      <dsp:txXfrm>
        <a:off x="0" y="2624792"/>
        <a:ext cx="9939728" cy="554242"/>
      </dsp:txXfrm>
    </dsp:sp>
    <dsp:sp modelId="{B4F0054F-391A-4FA8-9A4F-B26CFAD89CCE}">
      <dsp:nvSpPr>
        <dsp:cNvPr id="0" name=""/>
        <dsp:cNvSpPr/>
      </dsp:nvSpPr>
      <dsp:spPr>
        <a:xfrm>
          <a:off x="0" y="3179035"/>
          <a:ext cx="9939728" cy="503685"/>
        </a:xfrm>
        <a:prstGeom prst="roundRect">
          <a:avLst/>
        </a:prstGeom>
        <a:solidFill>
          <a:srgbClr val="EC008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100" kern="1200" dirty="0" err="1">
              <a:cs typeface="Calibri"/>
            </a:rPr>
            <a:t>Polyploidia</a:t>
          </a:r>
          <a:r>
            <a:rPr lang="fi-FI" sz="2100" kern="1200" dirty="0">
              <a:cs typeface="Calibri"/>
            </a:rPr>
            <a:t>:</a:t>
          </a:r>
          <a:endParaRPr lang="fi-FI" sz="2100" kern="1200" dirty="0"/>
        </a:p>
      </dsp:txBody>
      <dsp:txXfrm>
        <a:off x="24588" y="3203623"/>
        <a:ext cx="9890552" cy="454509"/>
      </dsp:txXfrm>
    </dsp:sp>
    <dsp:sp modelId="{1FF0460E-1422-42F3-9134-1D8727D7BD2B}">
      <dsp:nvSpPr>
        <dsp:cNvPr id="0" name=""/>
        <dsp:cNvSpPr/>
      </dsp:nvSpPr>
      <dsp:spPr>
        <a:xfrm>
          <a:off x="0" y="3682720"/>
          <a:ext cx="9939728" cy="55424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15586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1600" kern="1200" dirty="0">
              <a:cs typeface="Calibri"/>
            </a:rPr>
            <a:t>koko peruskromosomisto on monistunut</a:t>
          </a:r>
          <a:endParaRPr lang="fi-FI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endParaRPr lang="fi-FI" sz="1600" kern="1200" dirty="0"/>
        </a:p>
      </dsp:txBody>
      <dsp:txXfrm>
        <a:off x="0" y="3682720"/>
        <a:ext cx="9939728" cy="55424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FFB6CB-8672-6C41-9AE6-36381D05995E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4" name="Dian kuvan paikkamerkki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Huomautusten paikkamerkki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2884B2-4647-6F4B-B58A-4FBCFBA433A2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158384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i-FI"/>
              <a:t>Muokkaa perustyylejä naps.</a:t>
            </a:r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464523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Otsikko ja pystysuor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Pystysuoran tekstin paikkamerkki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7467716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Pystysuora 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ystysuora otsikko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Pystysuoran tekstin paikkamerkki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8900368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7887857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Osan ylätunn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i-FI"/>
              <a:t>Muokkaa perustyylejä naps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4982065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1119600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6" name="Sisällön paikkamerkki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7" name="Päivämäärän paikkamerkki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8" name="Alatunnisteen paikkamerkki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9" name="Dian numeron paikkamerkki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102507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864842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äivämäärän paikkamerkki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3" name="Alatunnisteen paikkamerkki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878603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tsikollinen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i-FI"/>
              <a:t>Muokkaa perustyylejä naps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759348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tsikollinen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i-FI"/>
              <a:t>Muokkaa perustyylejä naps.</a:t>
            </a:r>
          </a:p>
        </p:txBody>
      </p:sp>
      <p:sp>
        <p:nvSpPr>
          <p:cNvPr id="3" name="Kuvan paikkamerkki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i-FI"/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398991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i 7" hidden="1">
            <a:extLst>
              <a:ext uri="{FF2B5EF4-FFF2-40B4-BE49-F238E27FC236}">
                <a16:creationId xmlns:a16="http://schemas.microsoft.com/office/drawing/2014/main" id="{C41D900F-7DAD-4BA4-91FC-1E405899BD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892686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8" name="Objekti 7" hidden="1">
                        <a:extLst>
                          <a:ext uri="{FF2B5EF4-FFF2-40B4-BE49-F238E27FC236}">
                            <a16:creationId xmlns:a16="http://schemas.microsoft.com/office/drawing/2014/main" id="{C41D900F-7DAD-4BA4-91FC-1E405899BD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73374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oleObject" Target="../embeddings/oleObject2.bin"/><Relationship Id="rId7" Type="http://schemas.openxmlformats.org/officeDocument/2006/relationships/diagramQuickStyle" Target="../diagrams/quickStyl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10" Type="http://schemas.openxmlformats.org/officeDocument/2006/relationships/image" Target="../media/image2.png"/><Relationship Id="rId4" Type="http://schemas.openxmlformats.org/officeDocument/2006/relationships/image" Target="../media/image1.emf"/><Relationship Id="rId9" Type="http://schemas.microsoft.com/office/2007/relationships/diagramDrawing" Target="../diagrams/drawing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2.xml"/><Relationship Id="rId3" Type="http://schemas.openxmlformats.org/officeDocument/2006/relationships/oleObject" Target="../embeddings/oleObject3.bin"/><Relationship Id="rId7" Type="http://schemas.openxmlformats.org/officeDocument/2006/relationships/diagramQuickStyle" Target="../diagrams/quickStyl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diagramLayout" Target="../diagrams/layout2.xml"/><Relationship Id="rId5" Type="http://schemas.openxmlformats.org/officeDocument/2006/relationships/diagramData" Target="../diagrams/data2.xml"/><Relationship Id="rId10" Type="http://schemas.openxmlformats.org/officeDocument/2006/relationships/image" Target="../media/image2.png"/><Relationship Id="rId4" Type="http://schemas.openxmlformats.org/officeDocument/2006/relationships/image" Target="../media/image1.emf"/><Relationship Id="rId9" Type="http://schemas.microsoft.com/office/2007/relationships/diagramDrawing" Target="../diagrams/drawing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3.xml"/><Relationship Id="rId3" Type="http://schemas.openxmlformats.org/officeDocument/2006/relationships/oleObject" Target="../embeddings/oleObject6.bin"/><Relationship Id="rId7" Type="http://schemas.openxmlformats.org/officeDocument/2006/relationships/diagramQuickStyle" Target="../diagrams/quickStyl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diagramLayout" Target="../diagrams/layout3.xml"/><Relationship Id="rId5" Type="http://schemas.openxmlformats.org/officeDocument/2006/relationships/diagramData" Target="../diagrams/data3.xml"/><Relationship Id="rId10" Type="http://schemas.openxmlformats.org/officeDocument/2006/relationships/image" Target="../media/image2.png"/><Relationship Id="rId4" Type="http://schemas.openxmlformats.org/officeDocument/2006/relationships/image" Target="../media/image1.emf"/><Relationship Id="rId9" Type="http://schemas.microsoft.com/office/2007/relationships/diagramDrawing" Target="../diagrams/drawing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4.xml"/><Relationship Id="rId3" Type="http://schemas.openxmlformats.org/officeDocument/2006/relationships/oleObject" Target="../embeddings/oleObject7.bin"/><Relationship Id="rId7" Type="http://schemas.openxmlformats.org/officeDocument/2006/relationships/diagramQuickStyle" Target="../diagrams/quickStyl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diagramLayout" Target="../diagrams/layout4.xml"/><Relationship Id="rId5" Type="http://schemas.openxmlformats.org/officeDocument/2006/relationships/diagramData" Target="../diagrams/data4.xml"/><Relationship Id="rId10" Type="http://schemas.openxmlformats.org/officeDocument/2006/relationships/image" Target="../media/image2.png"/><Relationship Id="rId4" Type="http://schemas.openxmlformats.org/officeDocument/2006/relationships/image" Target="../media/image1.emf"/><Relationship Id="rId9" Type="http://schemas.microsoft.com/office/2007/relationships/diagramDrawing" Target="../diagrams/drawing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i 5" hidden="1">
            <a:extLst>
              <a:ext uri="{FF2B5EF4-FFF2-40B4-BE49-F238E27FC236}">
                <a16:creationId xmlns:a16="http://schemas.microsoft.com/office/drawing/2014/main" id="{E1BF22A5-5A57-4AF6-B247-2D8B493D9B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46643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kti 5" hidden="1">
                        <a:extLst>
                          <a:ext uri="{FF2B5EF4-FFF2-40B4-BE49-F238E27FC236}">
                            <a16:creationId xmlns:a16="http://schemas.microsoft.com/office/drawing/2014/main" id="{E1BF22A5-5A57-4AF6-B247-2D8B493D9B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366948" cy="1325563"/>
          </a:xfrm>
        </p:spPr>
        <p:txBody>
          <a:bodyPr vert="horz">
            <a:normAutofit/>
          </a:bodyPr>
          <a:lstStyle/>
          <a:p>
            <a:r>
              <a:rPr lang="fi-FI" sz="3600" dirty="0">
                <a:solidFill>
                  <a:srgbClr val="EC008C"/>
                </a:solidFill>
                <a:latin typeface="Myriad Pro Semibold" charset="0"/>
                <a:ea typeface="Myriad Pro Semibold" charset="0"/>
                <a:cs typeface="Myriad Pro Semibold" charset="0"/>
              </a:rPr>
              <a:t>9</a:t>
            </a:r>
            <a:r>
              <a:rPr lang="fi-FI" sz="3600" dirty="0">
                <a:latin typeface="Myriad Pro Semibold" charset="0"/>
                <a:ea typeface="Myriad Pro Semibold" charset="0"/>
                <a:cs typeface="Myriad Pro Semibold" charset="0"/>
              </a:rPr>
              <a:t> Geenit siirtyvät sukusoluissa vanhemmilta jälkeläisille</a:t>
            </a:r>
            <a:endParaRPr lang="fi-FI" sz="3600" dirty="0"/>
          </a:p>
        </p:txBody>
      </p:sp>
      <p:graphicFrame>
        <p:nvGraphicFramePr>
          <p:cNvPr id="8" name="Sisällön paikkamerkki 7">
            <a:extLst>
              <a:ext uri="{FF2B5EF4-FFF2-40B4-BE49-F238E27FC236}">
                <a16:creationId xmlns:a16="http://schemas.microsoft.com/office/drawing/2014/main" id="{311B8604-8FEE-42BB-AF19-CDBE2DDB3F1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80415651"/>
              </p:ext>
            </p:extLst>
          </p:nvPr>
        </p:nvGraphicFramePr>
        <p:xfrm>
          <a:off x="838200" y="2075508"/>
          <a:ext cx="10515600" cy="30436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id="{CF47ABF3-D808-437C-99C9-B7CE14174BFD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9226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i 5" hidden="1">
            <a:extLst>
              <a:ext uri="{FF2B5EF4-FFF2-40B4-BE49-F238E27FC236}">
                <a16:creationId xmlns:a16="http://schemas.microsoft.com/office/drawing/2014/main" id="{E1BF22A5-5A57-4AF6-B247-2D8B493D9B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4517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kti 5" hidden="1">
                        <a:extLst>
                          <a:ext uri="{FF2B5EF4-FFF2-40B4-BE49-F238E27FC236}">
                            <a16:creationId xmlns:a16="http://schemas.microsoft.com/office/drawing/2014/main" id="{E1BF22A5-5A57-4AF6-B247-2D8B493D9B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366948" cy="1325563"/>
          </a:xfrm>
        </p:spPr>
        <p:txBody>
          <a:bodyPr vert="horz">
            <a:normAutofit/>
          </a:bodyPr>
          <a:lstStyle/>
          <a:p>
            <a:r>
              <a:rPr lang="fi-FI" sz="3600" dirty="0">
                <a:latin typeface="Myriad Pro Semibold" charset="0"/>
                <a:ea typeface="Myriad Pro Semibold" charset="0"/>
                <a:cs typeface="Myriad Pro Semibold" charset="0"/>
              </a:rPr>
              <a:t>Peruskäsitteitä</a:t>
            </a:r>
            <a:endParaRPr lang="fi-FI" sz="3600" dirty="0"/>
          </a:p>
        </p:txBody>
      </p:sp>
      <p:graphicFrame>
        <p:nvGraphicFramePr>
          <p:cNvPr id="8" name="Sisällön paikkamerkki 7">
            <a:extLst>
              <a:ext uri="{FF2B5EF4-FFF2-40B4-BE49-F238E27FC236}">
                <a16:creationId xmlns:a16="http://schemas.microsoft.com/office/drawing/2014/main" id="{311B8604-8FEE-42BB-AF19-CDBE2DDB3F1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14298306"/>
              </p:ext>
            </p:extLst>
          </p:nvPr>
        </p:nvGraphicFramePr>
        <p:xfrm>
          <a:off x="838200" y="1690688"/>
          <a:ext cx="10515600" cy="43878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id="{CF47ABF3-D808-437C-99C9-B7CE14174BFD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56808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i 2" hidden="1">
            <a:extLst>
              <a:ext uri="{FF2B5EF4-FFF2-40B4-BE49-F238E27FC236}">
                <a16:creationId xmlns:a16="http://schemas.microsoft.com/office/drawing/2014/main" id="{E23B38B6-C474-4478-B461-DDE3DD760A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50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kti 2" hidden="1">
                        <a:extLst>
                          <a:ext uri="{FF2B5EF4-FFF2-40B4-BE49-F238E27FC236}">
                            <a16:creationId xmlns:a16="http://schemas.microsoft.com/office/drawing/2014/main" id="{E23B38B6-C474-4478-B461-DDE3DD760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fi-FI" sz="3600" dirty="0">
                <a:latin typeface="Myriad Pro Semibold" charset="0"/>
                <a:ea typeface="Myriad Pro Semibold" charset="0"/>
                <a:cs typeface="Myriad Pro Semibold" charset="0"/>
              </a:rPr>
              <a:t>Meioosissa kromosomiluku puolittuu</a:t>
            </a:r>
            <a:endParaRPr lang="fi-FI" sz="3600" dirty="0"/>
          </a:p>
        </p:txBody>
      </p:sp>
      <p:pic>
        <p:nvPicPr>
          <p:cNvPr id="5" name="Kuva 4">
            <a:extLst>
              <a:ext uri="{FF2B5EF4-FFF2-40B4-BE49-F238E27FC236}">
                <a16:creationId xmlns:a16="http://schemas.microsoft.com/office/drawing/2014/main" id="{8FCC6E92-11BF-44FA-A81B-6B5F5BCC5ED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1059196" y="3551316"/>
            <a:ext cx="9851990" cy="2496909"/>
          </a:xfrm>
          <a:prstGeom prst="rect">
            <a:avLst/>
          </a:prstGeom>
        </p:spPr>
      </p:pic>
      <p:grpSp>
        <p:nvGrpSpPr>
          <p:cNvPr id="18" name="Ryhmä 17">
            <a:extLst>
              <a:ext uri="{FF2B5EF4-FFF2-40B4-BE49-F238E27FC236}">
                <a16:creationId xmlns:a16="http://schemas.microsoft.com/office/drawing/2014/main" id="{95BCAAE5-5C53-48E6-9FF6-4399AAABD4D1}"/>
              </a:ext>
            </a:extLst>
          </p:cNvPr>
          <p:cNvGrpSpPr/>
          <p:nvPr/>
        </p:nvGrpSpPr>
        <p:grpSpPr>
          <a:xfrm>
            <a:off x="1047282" y="2059720"/>
            <a:ext cx="1627682" cy="828982"/>
            <a:chOff x="0" y="0"/>
            <a:chExt cx="3433871" cy="858178"/>
          </a:xfrm>
        </p:grpSpPr>
        <p:sp>
          <p:nvSpPr>
            <p:cNvPr id="19" name="Suorakulmio: Pyöristetyt kulmat 18">
              <a:extLst>
                <a:ext uri="{FF2B5EF4-FFF2-40B4-BE49-F238E27FC236}">
                  <a16:creationId xmlns:a16="http://schemas.microsoft.com/office/drawing/2014/main" id="{3B5A2344-B829-41B0-9138-10FB1EE5FD99}"/>
                </a:ext>
              </a:extLst>
            </p:cNvPr>
            <p:cNvSpPr/>
            <p:nvPr/>
          </p:nvSpPr>
          <p:spPr>
            <a:xfrm>
              <a:off x="0" y="0"/>
              <a:ext cx="3433871" cy="858178"/>
            </a:xfrm>
            <a:prstGeom prst="roundRect">
              <a:avLst>
                <a:gd name="adj" fmla="val 10000"/>
              </a:avLst>
            </a:prstGeom>
            <a:solidFill>
              <a:srgbClr val="EC008C"/>
            </a:solid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0" name="Suorakulmio: Pyöristetyt kulmat 4">
              <a:extLst>
                <a:ext uri="{FF2B5EF4-FFF2-40B4-BE49-F238E27FC236}">
                  <a16:creationId xmlns:a16="http://schemas.microsoft.com/office/drawing/2014/main" id="{33F42C49-B5C3-48EE-9E77-398558F8C768}"/>
                </a:ext>
              </a:extLst>
            </p:cNvPr>
            <p:cNvSpPr txBox="1"/>
            <p:nvPr/>
          </p:nvSpPr>
          <p:spPr>
            <a:xfrm>
              <a:off x="25135" y="25135"/>
              <a:ext cx="3408736" cy="80041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r>
                <a:rPr lang="fi-FI" sz="1400" b="1" dirty="0"/>
                <a:t>Välivaihe edeltää meioosia</a:t>
              </a:r>
            </a:p>
            <a:p>
              <a:pPr marL="285750" indent="-285750">
                <a:buFont typeface="Arial" charset="0"/>
                <a:buChar char="•"/>
              </a:pPr>
              <a:r>
                <a:rPr lang="fi-FI" sz="1400" dirty="0"/>
                <a:t>DNA kahdentuu</a:t>
              </a:r>
              <a:endParaRPr lang="fi-FI" sz="1400" b="1" dirty="0"/>
            </a:p>
          </p:txBody>
        </p:sp>
      </p:grpSp>
      <p:grpSp>
        <p:nvGrpSpPr>
          <p:cNvPr id="41" name="Ryhmä 40">
            <a:extLst>
              <a:ext uri="{FF2B5EF4-FFF2-40B4-BE49-F238E27FC236}">
                <a16:creationId xmlns:a16="http://schemas.microsoft.com/office/drawing/2014/main" id="{56BEE513-E2AE-4880-B09B-AC251138EA11}"/>
              </a:ext>
            </a:extLst>
          </p:cNvPr>
          <p:cNvGrpSpPr/>
          <p:nvPr/>
        </p:nvGrpSpPr>
        <p:grpSpPr>
          <a:xfrm>
            <a:off x="2870925" y="2059007"/>
            <a:ext cx="1895925" cy="1161737"/>
            <a:chOff x="0" y="0"/>
            <a:chExt cx="3433871" cy="858178"/>
          </a:xfrm>
        </p:grpSpPr>
        <p:sp>
          <p:nvSpPr>
            <p:cNvPr id="42" name="Suorakulmio: Pyöristetyt kulmat 41">
              <a:extLst>
                <a:ext uri="{FF2B5EF4-FFF2-40B4-BE49-F238E27FC236}">
                  <a16:creationId xmlns:a16="http://schemas.microsoft.com/office/drawing/2014/main" id="{3566DCCF-996E-4171-8BB0-845E0B1461E0}"/>
                </a:ext>
              </a:extLst>
            </p:cNvPr>
            <p:cNvSpPr/>
            <p:nvPr/>
          </p:nvSpPr>
          <p:spPr>
            <a:xfrm>
              <a:off x="0" y="0"/>
              <a:ext cx="3433871" cy="858178"/>
            </a:xfrm>
            <a:prstGeom prst="roundRect">
              <a:avLst>
                <a:gd name="adj" fmla="val 10000"/>
              </a:avLst>
            </a:prstGeom>
            <a:solidFill>
              <a:srgbClr val="EC008C"/>
            </a:solid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3" name="Suorakulmio: Pyöristetyt kulmat 4">
              <a:extLst>
                <a:ext uri="{FF2B5EF4-FFF2-40B4-BE49-F238E27FC236}">
                  <a16:creationId xmlns:a16="http://schemas.microsoft.com/office/drawing/2014/main" id="{052CFC5D-7C35-4A9D-8167-D889B8B50107}"/>
                </a:ext>
              </a:extLst>
            </p:cNvPr>
            <p:cNvSpPr txBox="1"/>
            <p:nvPr/>
          </p:nvSpPr>
          <p:spPr>
            <a:xfrm>
              <a:off x="25135" y="25135"/>
              <a:ext cx="3408736" cy="80041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r>
                <a:rPr lang="fi-FI" sz="1400" b="1" dirty="0"/>
                <a:t>Esivaihe 1</a:t>
              </a:r>
            </a:p>
            <a:p>
              <a:pPr marL="285750" indent="-285750">
                <a:buFont typeface="Arial" charset="0"/>
                <a:buChar char="•"/>
              </a:pPr>
              <a:r>
                <a:rPr lang="fi-FI" sz="1400" dirty="0"/>
                <a:t>kahdentuneet kromosomit pakkautuvat ja asettuvat rinnakkain</a:t>
              </a:r>
            </a:p>
          </p:txBody>
        </p:sp>
      </p:grpSp>
      <p:grpSp>
        <p:nvGrpSpPr>
          <p:cNvPr id="55" name="Ryhmä 54">
            <a:extLst>
              <a:ext uri="{FF2B5EF4-FFF2-40B4-BE49-F238E27FC236}">
                <a16:creationId xmlns:a16="http://schemas.microsoft.com/office/drawing/2014/main" id="{DB276990-1DBD-4F7B-BAD8-02B75C18F2AB}"/>
              </a:ext>
            </a:extLst>
          </p:cNvPr>
          <p:cNvGrpSpPr/>
          <p:nvPr/>
        </p:nvGrpSpPr>
        <p:grpSpPr>
          <a:xfrm>
            <a:off x="4962811" y="2058055"/>
            <a:ext cx="1882048" cy="1265660"/>
            <a:chOff x="0" y="0"/>
            <a:chExt cx="3433871" cy="858178"/>
          </a:xfrm>
        </p:grpSpPr>
        <p:sp>
          <p:nvSpPr>
            <p:cNvPr id="56" name="Suorakulmio: Pyöristetyt kulmat 55">
              <a:extLst>
                <a:ext uri="{FF2B5EF4-FFF2-40B4-BE49-F238E27FC236}">
                  <a16:creationId xmlns:a16="http://schemas.microsoft.com/office/drawing/2014/main" id="{29918849-D9D1-4871-8E5F-C56E44D186AC}"/>
                </a:ext>
              </a:extLst>
            </p:cNvPr>
            <p:cNvSpPr/>
            <p:nvPr/>
          </p:nvSpPr>
          <p:spPr>
            <a:xfrm>
              <a:off x="0" y="0"/>
              <a:ext cx="3433871" cy="858178"/>
            </a:xfrm>
            <a:prstGeom prst="roundRect">
              <a:avLst>
                <a:gd name="adj" fmla="val 10000"/>
              </a:avLst>
            </a:prstGeom>
            <a:solidFill>
              <a:srgbClr val="EC008C"/>
            </a:solid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7" name="Suorakulmio: Pyöristetyt kulmat 4">
              <a:extLst>
                <a:ext uri="{FF2B5EF4-FFF2-40B4-BE49-F238E27FC236}">
                  <a16:creationId xmlns:a16="http://schemas.microsoft.com/office/drawing/2014/main" id="{0C29839A-CD2D-4507-9DE6-AF52D4D95B3F}"/>
                </a:ext>
              </a:extLst>
            </p:cNvPr>
            <p:cNvSpPr txBox="1"/>
            <p:nvPr/>
          </p:nvSpPr>
          <p:spPr>
            <a:xfrm>
              <a:off x="25136" y="25135"/>
              <a:ext cx="3408735" cy="80041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r>
                <a:rPr lang="fi-FI" sz="1400" b="1" dirty="0"/>
                <a:t>Keskivaihe 1</a:t>
              </a:r>
            </a:p>
            <a:p>
              <a:pPr marL="285750" indent="-285750">
                <a:buFont typeface="Arial" charset="0"/>
                <a:buChar char="•"/>
              </a:pPr>
              <a:r>
                <a:rPr lang="fi-FI" sz="1400" dirty="0"/>
                <a:t>vastinkromosomit asettuvat pareittain solun keskitasoon sukkularihmojen vetäminä</a:t>
              </a:r>
            </a:p>
          </p:txBody>
        </p:sp>
      </p:grpSp>
      <p:grpSp>
        <p:nvGrpSpPr>
          <p:cNvPr id="58" name="Ryhmä 57">
            <a:extLst>
              <a:ext uri="{FF2B5EF4-FFF2-40B4-BE49-F238E27FC236}">
                <a16:creationId xmlns:a16="http://schemas.microsoft.com/office/drawing/2014/main" id="{D6A8E6FF-842C-46AB-ACE7-F0591BD5AD2E}"/>
              </a:ext>
            </a:extLst>
          </p:cNvPr>
          <p:cNvGrpSpPr/>
          <p:nvPr/>
        </p:nvGrpSpPr>
        <p:grpSpPr>
          <a:xfrm>
            <a:off x="6969536" y="2058055"/>
            <a:ext cx="1964244" cy="1518526"/>
            <a:chOff x="0" y="0"/>
            <a:chExt cx="3433871" cy="858178"/>
          </a:xfrm>
        </p:grpSpPr>
        <p:sp>
          <p:nvSpPr>
            <p:cNvPr id="59" name="Suorakulmio: Pyöristetyt kulmat 58">
              <a:extLst>
                <a:ext uri="{FF2B5EF4-FFF2-40B4-BE49-F238E27FC236}">
                  <a16:creationId xmlns:a16="http://schemas.microsoft.com/office/drawing/2014/main" id="{5097E19F-BE3C-454D-A13D-A491EE16E6F0}"/>
                </a:ext>
              </a:extLst>
            </p:cNvPr>
            <p:cNvSpPr/>
            <p:nvPr/>
          </p:nvSpPr>
          <p:spPr>
            <a:xfrm>
              <a:off x="0" y="0"/>
              <a:ext cx="3433871" cy="858178"/>
            </a:xfrm>
            <a:prstGeom prst="roundRect">
              <a:avLst>
                <a:gd name="adj" fmla="val 10000"/>
              </a:avLst>
            </a:prstGeom>
            <a:solidFill>
              <a:srgbClr val="EC008C"/>
            </a:solid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0" name="Suorakulmio: Pyöristetyt kulmat 4">
              <a:extLst>
                <a:ext uri="{FF2B5EF4-FFF2-40B4-BE49-F238E27FC236}">
                  <a16:creationId xmlns:a16="http://schemas.microsoft.com/office/drawing/2014/main" id="{BFDA93DE-549B-4054-BF80-9D6129757F40}"/>
                </a:ext>
              </a:extLst>
            </p:cNvPr>
            <p:cNvSpPr txBox="1"/>
            <p:nvPr/>
          </p:nvSpPr>
          <p:spPr>
            <a:xfrm>
              <a:off x="25136" y="25135"/>
              <a:ext cx="3408735" cy="80041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r>
                <a:rPr lang="fi-FI" sz="1400" b="1" dirty="0"/>
                <a:t>Jälkivaihe 1</a:t>
              </a:r>
            </a:p>
            <a:p>
              <a:pPr marL="285750" indent="-285750">
                <a:buFont typeface="Arial" charset="0"/>
                <a:buChar char="•"/>
              </a:pPr>
              <a:r>
                <a:rPr lang="fi-FI" sz="1400" dirty="0"/>
                <a:t>sukkularihmat vetävät vastinkromosomit vastakkaisille puolille</a:t>
              </a:r>
            </a:p>
            <a:p>
              <a:pPr marL="285750" indent="-285750">
                <a:buFont typeface="Arial" charset="0"/>
                <a:buChar char="•"/>
              </a:pPr>
              <a:r>
                <a:rPr lang="fi-FI" sz="1400" dirty="0"/>
                <a:t>kromosomiluku puolittuu</a:t>
              </a:r>
            </a:p>
          </p:txBody>
        </p:sp>
      </p:grpSp>
      <p:grpSp>
        <p:nvGrpSpPr>
          <p:cNvPr id="61" name="Ryhmä 60">
            <a:extLst>
              <a:ext uri="{FF2B5EF4-FFF2-40B4-BE49-F238E27FC236}">
                <a16:creationId xmlns:a16="http://schemas.microsoft.com/office/drawing/2014/main" id="{AE39A476-2E17-40BC-84DD-9BBAA014B5C3}"/>
              </a:ext>
            </a:extLst>
          </p:cNvPr>
          <p:cNvGrpSpPr/>
          <p:nvPr/>
        </p:nvGrpSpPr>
        <p:grpSpPr>
          <a:xfrm>
            <a:off x="9058458" y="2059007"/>
            <a:ext cx="1718093" cy="1265660"/>
            <a:chOff x="0" y="0"/>
            <a:chExt cx="3433871" cy="858178"/>
          </a:xfrm>
        </p:grpSpPr>
        <p:sp>
          <p:nvSpPr>
            <p:cNvPr id="62" name="Suorakulmio: Pyöristetyt kulmat 61">
              <a:extLst>
                <a:ext uri="{FF2B5EF4-FFF2-40B4-BE49-F238E27FC236}">
                  <a16:creationId xmlns:a16="http://schemas.microsoft.com/office/drawing/2014/main" id="{A0648C33-DB63-46EE-B0EC-391C334F958E}"/>
                </a:ext>
              </a:extLst>
            </p:cNvPr>
            <p:cNvSpPr/>
            <p:nvPr/>
          </p:nvSpPr>
          <p:spPr>
            <a:xfrm>
              <a:off x="0" y="0"/>
              <a:ext cx="3433871" cy="858178"/>
            </a:xfrm>
            <a:prstGeom prst="roundRect">
              <a:avLst>
                <a:gd name="adj" fmla="val 10000"/>
              </a:avLst>
            </a:prstGeom>
            <a:solidFill>
              <a:srgbClr val="EC008C"/>
            </a:solid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3" name="Suorakulmio: Pyöristetyt kulmat 4">
              <a:extLst>
                <a:ext uri="{FF2B5EF4-FFF2-40B4-BE49-F238E27FC236}">
                  <a16:creationId xmlns:a16="http://schemas.microsoft.com/office/drawing/2014/main" id="{2EA052F7-9136-4B0C-BFED-128ADD090E40}"/>
                </a:ext>
              </a:extLst>
            </p:cNvPr>
            <p:cNvSpPr txBox="1"/>
            <p:nvPr/>
          </p:nvSpPr>
          <p:spPr>
            <a:xfrm>
              <a:off x="25137" y="25135"/>
              <a:ext cx="3408734" cy="80041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r>
                <a:rPr lang="fi-FI" sz="1400" b="1" dirty="0"/>
                <a:t>Loppuvaihe 1</a:t>
              </a:r>
            </a:p>
            <a:p>
              <a:pPr marL="285750" indent="-285750">
                <a:buFont typeface="Arial" charset="0"/>
                <a:buChar char="•"/>
              </a:pPr>
              <a:r>
                <a:rPr lang="fi-FI" sz="1400" dirty="0"/>
                <a:t>muodostuu kaksi haploidista solua, joissa DNA on kahdentuneen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8963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i 2" hidden="1">
            <a:extLst>
              <a:ext uri="{FF2B5EF4-FFF2-40B4-BE49-F238E27FC236}">
                <a16:creationId xmlns:a16="http://schemas.microsoft.com/office/drawing/2014/main" id="{E23B38B6-C474-4478-B461-DDE3DD760A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91770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kti 2" hidden="1">
                        <a:extLst>
                          <a:ext uri="{FF2B5EF4-FFF2-40B4-BE49-F238E27FC236}">
                            <a16:creationId xmlns:a16="http://schemas.microsoft.com/office/drawing/2014/main" id="{E23B38B6-C474-4478-B461-DDE3DD760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fi-FI" sz="3600" dirty="0">
                <a:latin typeface="Myriad Pro Semibold" charset="0"/>
                <a:ea typeface="Myriad Pro Semibold" charset="0"/>
                <a:cs typeface="Myriad Pro Semibold" charset="0"/>
              </a:rPr>
              <a:t>Meioosissa kromosomiluku puolittuu</a:t>
            </a:r>
            <a:endParaRPr lang="fi-FI" sz="3600" dirty="0"/>
          </a:p>
        </p:txBody>
      </p:sp>
      <p:pic>
        <p:nvPicPr>
          <p:cNvPr id="5" name="Kuva 4">
            <a:extLst>
              <a:ext uri="{FF2B5EF4-FFF2-40B4-BE49-F238E27FC236}">
                <a16:creationId xmlns:a16="http://schemas.microsoft.com/office/drawing/2014/main" id="{8FCC6E92-11BF-44FA-A81B-6B5F5BCC5ED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1341620" y="3551316"/>
            <a:ext cx="9434931" cy="3309348"/>
          </a:xfrm>
          <a:prstGeom prst="rect">
            <a:avLst/>
          </a:prstGeom>
        </p:spPr>
      </p:pic>
      <p:grpSp>
        <p:nvGrpSpPr>
          <p:cNvPr id="41" name="Ryhmä 40">
            <a:extLst>
              <a:ext uri="{FF2B5EF4-FFF2-40B4-BE49-F238E27FC236}">
                <a16:creationId xmlns:a16="http://schemas.microsoft.com/office/drawing/2014/main" id="{56BEE513-E2AE-4880-B09B-AC251138EA11}"/>
              </a:ext>
            </a:extLst>
          </p:cNvPr>
          <p:cNvGrpSpPr/>
          <p:nvPr/>
        </p:nvGrpSpPr>
        <p:grpSpPr>
          <a:xfrm>
            <a:off x="3403076" y="2070481"/>
            <a:ext cx="1895925" cy="1370945"/>
            <a:chOff x="0" y="0"/>
            <a:chExt cx="3433871" cy="858178"/>
          </a:xfrm>
        </p:grpSpPr>
        <p:sp>
          <p:nvSpPr>
            <p:cNvPr id="42" name="Suorakulmio: Pyöristetyt kulmat 41">
              <a:extLst>
                <a:ext uri="{FF2B5EF4-FFF2-40B4-BE49-F238E27FC236}">
                  <a16:creationId xmlns:a16="http://schemas.microsoft.com/office/drawing/2014/main" id="{3566DCCF-996E-4171-8BB0-845E0B1461E0}"/>
                </a:ext>
              </a:extLst>
            </p:cNvPr>
            <p:cNvSpPr/>
            <p:nvPr/>
          </p:nvSpPr>
          <p:spPr>
            <a:xfrm>
              <a:off x="0" y="0"/>
              <a:ext cx="3433871" cy="858178"/>
            </a:xfrm>
            <a:prstGeom prst="roundRect">
              <a:avLst>
                <a:gd name="adj" fmla="val 10000"/>
              </a:avLst>
            </a:prstGeom>
            <a:solidFill>
              <a:srgbClr val="EC008C"/>
            </a:solid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3" name="Suorakulmio: Pyöristetyt kulmat 4">
              <a:extLst>
                <a:ext uri="{FF2B5EF4-FFF2-40B4-BE49-F238E27FC236}">
                  <a16:creationId xmlns:a16="http://schemas.microsoft.com/office/drawing/2014/main" id="{052CFC5D-7C35-4A9D-8167-D889B8B50107}"/>
                </a:ext>
              </a:extLst>
            </p:cNvPr>
            <p:cNvSpPr txBox="1"/>
            <p:nvPr/>
          </p:nvSpPr>
          <p:spPr>
            <a:xfrm>
              <a:off x="25135" y="25135"/>
              <a:ext cx="3408736" cy="80041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r>
                <a:rPr lang="fi-FI" sz="1400" b="1" dirty="0"/>
                <a:t>Keskivaihe 2</a:t>
              </a:r>
            </a:p>
            <a:p>
              <a:pPr marL="285750" indent="-285750">
                <a:buFont typeface="Arial" charset="0"/>
                <a:buChar char="•"/>
              </a:pPr>
              <a:r>
                <a:rPr lang="fi-FI" sz="1400" dirty="0"/>
                <a:t>kromosomit asettuvat solun keskitasoon sukkularihmojen vetäminä</a:t>
              </a:r>
            </a:p>
          </p:txBody>
        </p:sp>
      </p:grpSp>
      <p:grpSp>
        <p:nvGrpSpPr>
          <p:cNvPr id="55" name="Ryhmä 54">
            <a:extLst>
              <a:ext uri="{FF2B5EF4-FFF2-40B4-BE49-F238E27FC236}">
                <a16:creationId xmlns:a16="http://schemas.microsoft.com/office/drawing/2014/main" id="{DB276990-1DBD-4F7B-BAD8-02B75C18F2AB}"/>
              </a:ext>
            </a:extLst>
          </p:cNvPr>
          <p:cNvGrpSpPr/>
          <p:nvPr/>
        </p:nvGrpSpPr>
        <p:grpSpPr>
          <a:xfrm>
            <a:off x="5543104" y="2070481"/>
            <a:ext cx="1882048" cy="1370945"/>
            <a:chOff x="0" y="0"/>
            <a:chExt cx="3433871" cy="858178"/>
          </a:xfrm>
        </p:grpSpPr>
        <p:sp>
          <p:nvSpPr>
            <p:cNvPr id="56" name="Suorakulmio: Pyöristetyt kulmat 55">
              <a:extLst>
                <a:ext uri="{FF2B5EF4-FFF2-40B4-BE49-F238E27FC236}">
                  <a16:creationId xmlns:a16="http://schemas.microsoft.com/office/drawing/2014/main" id="{29918849-D9D1-4871-8E5F-C56E44D186AC}"/>
                </a:ext>
              </a:extLst>
            </p:cNvPr>
            <p:cNvSpPr/>
            <p:nvPr/>
          </p:nvSpPr>
          <p:spPr>
            <a:xfrm>
              <a:off x="0" y="0"/>
              <a:ext cx="3433871" cy="858178"/>
            </a:xfrm>
            <a:prstGeom prst="roundRect">
              <a:avLst>
                <a:gd name="adj" fmla="val 10000"/>
              </a:avLst>
            </a:prstGeom>
            <a:solidFill>
              <a:srgbClr val="EC008C"/>
            </a:solid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7" name="Suorakulmio: Pyöristetyt kulmat 4">
              <a:extLst>
                <a:ext uri="{FF2B5EF4-FFF2-40B4-BE49-F238E27FC236}">
                  <a16:creationId xmlns:a16="http://schemas.microsoft.com/office/drawing/2014/main" id="{0C29839A-CD2D-4507-9DE6-AF52D4D95B3F}"/>
                </a:ext>
              </a:extLst>
            </p:cNvPr>
            <p:cNvSpPr txBox="1"/>
            <p:nvPr/>
          </p:nvSpPr>
          <p:spPr>
            <a:xfrm>
              <a:off x="25136" y="25135"/>
              <a:ext cx="3408735" cy="80041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r>
                <a:rPr lang="fi-FI" sz="1400" b="1" dirty="0"/>
                <a:t>Jälkivaihe 2</a:t>
              </a:r>
            </a:p>
            <a:p>
              <a:pPr marL="285750" indent="-285750">
                <a:buFont typeface="Arial" charset="0"/>
                <a:buChar char="•"/>
              </a:pPr>
              <a:r>
                <a:rPr lang="fi-FI" sz="1400" dirty="0"/>
                <a:t>sukkularihmat vetävät </a:t>
              </a:r>
              <a:r>
                <a:rPr lang="fi-FI" sz="1400" dirty="0" err="1"/>
                <a:t>sisarkromatidit</a:t>
              </a:r>
              <a:r>
                <a:rPr lang="fi-FI" sz="1400" dirty="0"/>
                <a:t> vastakkaisille puolille</a:t>
              </a:r>
            </a:p>
          </p:txBody>
        </p:sp>
      </p:grpSp>
      <p:grpSp>
        <p:nvGrpSpPr>
          <p:cNvPr id="61" name="Ryhmä 60">
            <a:extLst>
              <a:ext uri="{FF2B5EF4-FFF2-40B4-BE49-F238E27FC236}">
                <a16:creationId xmlns:a16="http://schemas.microsoft.com/office/drawing/2014/main" id="{AE39A476-2E17-40BC-84DD-9BBAA014B5C3}"/>
              </a:ext>
            </a:extLst>
          </p:cNvPr>
          <p:cNvGrpSpPr/>
          <p:nvPr/>
        </p:nvGrpSpPr>
        <p:grpSpPr>
          <a:xfrm>
            <a:off x="8103970" y="2045017"/>
            <a:ext cx="1868271" cy="1396409"/>
            <a:chOff x="0" y="-15940"/>
            <a:chExt cx="3433871" cy="874118"/>
          </a:xfrm>
        </p:grpSpPr>
        <p:sp>
          <p:nvSpPr>
            <p:cNvPr id="62" name="Suorakulmio: Pyöristetyt kulmat 61">
              <a:extLst>
                <a:ext uri="{FF2B5EF4-FFF2-40B4-BE49-F238E27FC236}">
                  <a16:creationId xmlns:a16="http://schemas.microsoft.com/office/drawing/2014/main" id="{A0648C33-DB63-46EE-B0EC-391C334F958E}"/>
                </a:ext>
              </a:extLst>
            </p:cNvPr>
            <p:cNvSpPr/>
            <p:nvPr/>
          </p:nvSpPr>
          <p:spPr>
            <a:xfrm>
              <a:off x="0" y="0"/>
              <a:ext cx="3433871" cy="858178"/>
            </a:xfrm>
            <a:prstGeom prst="roundRect">
              <a:avLst>
                <a:gd name="adj" fmla="val 10000"/>
              </a:avLst>
            </a:prstGeom>
            <a:solidFill>
              <a:srgbClr val="EC008C"/>
            </a:solid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3" name="Suorakulmio: Pyöristetyt kulmat 4">
              <a:extLst>
                <a:ext uri="{FF2B5EF4-FFF2-40B4-BE49-F238E27FC236}">
                  <a16:creationId xmlns:a16="http://schemas.microsoft.com/office/drawing/2014/main" id="{2EA052F7-9136-4B0C-BFED-128ADD090E40}"/>
                </a:ext>
              </a:extLst>
            </p:cNvPr>
            <p:cNvSpPr txBox="1"/>
            <p:nvPr/>
          </p:nvSpPr>
          <p:spPr>
            <a:xfrm>
              <a:off x="25136" y="-15940"/>
              <a:ext cx="3408735" cy="80041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r>
                <a:rPr lang="fi-FI" sz="1400" b="1" dirty="0"/>
                <a:t>Loppuvaihe 2 ja solujen jakautuminen</a:t>
              </a:r>
            </a:p>
            <a:p>
              <a:pPr marL="285750" indent="-285750">
                <a:buFont typeface="Arial" charset="0"/>
                <a:buChar char="•"/>
              </a:pPr>
              <a:r>
                <a:rPr lang="fi-FI" sz="1400" dirty="0"/>
                <a:t>syntyy neljä haploidista sukusolua</a:t>
              </a:r>
            </a:p>
          </p:txBody>
        </p:sp>
      </p:grpSp>
      <p:grpSp>
        <p:nvGrpSpPr>
          <p:cNvPr id="21" name="Ryhmä 20">
            <a:extLst>
              <a:ext uri="{FF2B5EF4-FFF2-40B4-BE49-F238E27FC236}">
                <a16:creationId xmlns:a16="http://schemas.microsoft.com/office/drawing/2014/main" id="{2AFEECC1-D0CA-410A-8CBC-305B08D37181}"/>
              </a:ext>
            </a:extLst>
          </p:cNvPr>
          <p:cNvGrpSpPr/>
          <p:nvPr/>
        </p:nvGrpSpPr>
        <p:grpSpPr>
          <a:xfrm>
            <a:off x="1046636" y="2070481"/>
            <a:ext cx="1882048" cy="1370944"/>
            <a:chOff x="0" y="0"/>
            <a:chExt cx="3433871" cy="858178"/>
          </a:xfrm>
        </p:grpSpPr>
        <p:sp>
          <p:nvSpPr>
            <p:cNvPr id="22" name="Suorakulmio: Pyöristetyt kulmat 21">
              <a:extLst>
                <a:ext uri="{FF2B5EF4-FFF2-40B4-BE49-F238E27FC236}">
                  <a16:creationId xmlns:a16="http://schemas.microsoft.com/office/drawing/2014/main" id="{E61D0D1F-4563-4F31-AE6F-9B12918D8D88}"/>
                </a:ext>
              </a:extLst>
            </p:cNvPr>
            <p:cNvSpPr/>
            <p:nvPr/>
          </p:nvSpPr>
          <p:spPr>
            <a:xfrm>
              <a:off x="0" y="0"/>
              <a:ext cx="3433871" cy="858178"/>
            </a:xfrm>
            <a:prstGeom prst="roundRect">
              <a:avLst>
                <a:gd name="adj" fmla="val 10000"/>
              </a:avLst>
            </a:prstGeom>
            <a:solidFill>
              <a:srgbClr val="EC008C"/>
            </a:solid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3" name="Suorakulmio: Pyöristetyt kulmat 4">
              <a:extLst>
                <a:ext uri="{FF2B5EF4-FFF2-40B4-BE49-F238E27FC236}">
                  <a16:creationId xmlns:a16="http://schemas.microsoft.com/office/drawing/2014/main" id="{60FF6A9A-8061-45D4-8029-E78BFE22F86C}"/>
                </a:ext>
              </a:extLst>
            </p:cNvPr>
            <p:cNvSpPr txBox="1"/>
            <p:nvPr/>
          </p:nvSpPr>
          <p:spPr>
            <a:xfrm>
              <a:off x="25136" y="25135"/>
              <a:ext cx="3408735" cy="80041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r>
                <a:rPr lang="fi-FI" sz="1400" b="1" dirty="0"/>
                <a:t>Esivaihe 2</a:t>
              </a:r>
            </a:p>
            <a:p>
              <a:pPr marL="285750" indent="-285750">
                <a:buFont typeface="Arial" charset="0"/>
                <a:buChar char="•"/>
              </a:pPr>
              <a:r>
                <a:rPr lang="fi-FI" sz="1400" dirty="0"/>
                <a:t>kahdentuneina säilyneet kromosomit pakkautuvat uudelle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584583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2" name="Rectangle 21">
            <a:extLst>
              <a:ext uri="{FF2B5EF4-FFF2-40B4-BE49-F238E27FC236}">
                <a16:creationId xmlns:a16="http://schemas.microsoft.com/office/drawing/2014/main" id="{3C54F4CE-85F0-46ED-80DA-9518C9251A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DADD1FCA-8ACB-4958-81DD-4CDD6D3E19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0"/>
            <a:ext cx="5802086" cy="6858000"/>
          </a:xfrm>
          <a:custGeom>
            <a:avLst/>
            <a:gdLst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6695 w 5734864"/>
              <a:gd name="connsiteY13" fmla="*/ 1035077 h 6858000"/>
              <a:gd name="connsiteX14" fmla="*/ 847865 w 5734864"/>
              <a:gd name="connsiteY14" fmla="*/ 1070795 h 6858000"/>
              <a:gd name="connsiteX15" fmla="*/ 862786 w 5734864"/>
              <a:gd name="connsiteY15" fmla="*/ 1238994 h 6858000"/>
              <a:gd name="connsiteX16" fmla="*/ 859345 w 5734864"/>
              <a:gd name="connsiteY16" fmla="*/ 1380427 h 6858000"/>
              <a:gd name="connsiteX17" fmla="*/ 855172 w 5734864"/>
              <a:gd name="connsiteY17" fmla="*/ 1435262 h 6858000"/>
              <a:gd name="connsiteX18" fmla="*/ 860494 w 5734864"/>
              <a:gd name="connsiteY18" fmla="*/ 1453861 h 6858000"/>
              <a:gd name="connsiteX19" fmla="*/ 853731 w 5734864"/>
              <a:gd name="connsiteY19" fmla="*/ 1467047 h 6858000"/>
              <a:gd name="connsiteX20" fmla="*/ 845847 w 5734864"/>
              <a:gd name="connsiteY20" fmla="*/ 1502307 h 6858000"/>
              <a:gd name="connsiteX21" fmla="*/ 817613 w 5734864"/>
              <a:gd name="connsiteY21" fmla="*/ 1565166 h 6858000"/>
              <a:gd name="connsiteX22" fmla="*/ 804223 w 5734864"/>
              <a:gd name="connsiteY22" fmla="*/ 1601941 h 6858000"/>
              <a:gd name="connsiteX23" fmla="*/ 791773 w 5734864"/>
              <a:gd name="connsiteY23" fmla="*/ 1627005 h 6858000"/>
              <a:gd name="connsiteX24" fmla="*/ 774645 w 5734864"/>
              <a:gd name="connsiteY24" fmla="*/ 1699922 h 6858000"/>
              <a:gd name="connsiteX25" fmla="*/ 752343 w 5734864"/>
              <a:gd name="connsiteY25" fmla="*/ 1824604 h 6858000"/>
              <a:gd name="connsiteX26" fmla="*/ 746254 w 5734864"/>
              <a:gd name="connsiteY26" fmla="*/ 1850222 h 6858000"/>
              <a:gd name="connsiteX27" fmla="*/ 728600 w 5734864"/>
              <a:gd name="connsiteY27" fmla="*/ 1869603 h 6858000"/>
              <a:gd name="connsiteX28" fmla="*/ 724396 w 5734864"/>
              <a:gd name="connsiteY28" fmla="*/ 1883104 h 6858000"/>
              <a:gd name="connsiteX29" fmla="*/ 722165 w 5734864"/>
              <a:gd name="connsiteY29" fmla="*/ 1885924 h 6858000"/>
              <a:gd name="connsiteX30" fmla="*/ 721338 w 5734864"/>
              <a:gd name="connsiteY30" fmla="*/ 1887123 h 6858000"/>
              <a:gd name="connsiteX31" fmla="*/ 714840 w 5734864"/>
              <a:gd name="connsiteY31" fmla="*/ 1902274 h 6858000"/>
              <a:gd name="connsiteX32" fmla="*/ 722847 w 5734864"/>
              <a:gd name="connsiteY32" fmla="*/ 1929891 h 6858000"/>
              <a:gd name="connsiteX33" fmla="*/ 719647 w 5734864"/>
              <a:gd name="connsiteY33" fmla="*/ 1936120 h 6858000"/>
              <a:gd name="connsiteX34" fmla="*/ 714660 w 5734864"/>
              <a:gd name="connsiteY34" fmla="*/ 1982709 h 6858000"/>
              <a:gd name="connsiteX35" fmla="*/ 710759 w 5734864"/>
              <a:gd name="connsiteY35" fmla="*/ 2013010 h 6858000"/>
              <a:gd name="connsiteX36" fmla="*/ 697927 w 5734864"/>
              <a:gd name="connsiteY36" fmla="*/ 2069833 h 6858000"/>
              <a:gd name="connsiteX37" fmla="*/ 693594 w 5734864"/>
              <a:gd name="connsiteY37" fmla="*/ 2103731 h 6858000"/>
              <a:gd name="connsiteX38" fmla="*/ 691109 w 5734864"/>
              <a:gd name="connsiteY38" fmla="*/ 2124027 h 6858000"/>
              <a:gd name="connsiteX39" fmla="*/ 676593 w 5734864"/>
              <a:gd name="connsiteY39" fmla="*/ 2176182 h 6858000"/>
              <a:gd name="connsiteX40" fmla="*/ 633227 w 5734864"/>
              <a:gd name="connsiteY40" fmla="*/ 2258036 h 6858000"/>
              <a:gd name="connsiteX41" fmla="*/ 625564 w 5734864"/>
              <a:gd name="connsiteY41" fmla="*/ 2284567 h 6858000"/>
              <a:gd name="connsiteX42" fmla="*/ 627074 w 5734864"/>
              <a:gd name="connsiteY42" fmla="*/ 2289605 h 6858000"/>
              <a:gd name="connsiteX43" fmla="*/ 614574 w 5734864"/>
              <a:gd name="connsiteY43" fmla="*/ 2308717 h 6858000"/>
              <a:gd name="connsiteX44" fmla="*/ 606890 w 5734864"/>
              <a:gd name="connsiteY44" fmla="*/ 2320662 h 6858000"/>
              <a:gd name="connsiteX45" fmla="*/ 605558 w 5734864"/>
              <a:gd name="connsiteY45" fmla="*/ 2327897 h 6858000"/>
              <a:gd name="connsiteX46" fmla="*/ 602202 w 5734864"/>
              <a:gd name="connsiteY46" fmla="*/ 2357749 h 6858000"/>
              <a:gd name="connsiteX47" fmla="*/ 600213 w 5734864"/>
              <a:gd name="connsiteY47" fmla="*/ 2364905 h 6858000"/>
              <a:gd name="connsiteX48" fmla="*/ 597160 w 5734864"/>
              <a:gd name="connsiteY48" fmla="*/ 2388351 h 6858000"/>
              <a:gd name="connsiteX49" fmla="*/ 597982 w 5734864"/>
              <a:gd name="connsiteY49" fmla="*/ 2402296 h 6858000"/>
              <a:gd name="connsiteX50" fmla="*/ 593150 w 5734864"/>
              <a:gd name="connsiteY50" fmla="*/ 2420015 h 6858000"/>
              <a:gd name="connsiteX51" fmla="*/ 592833 w 5734864"/>
              <a:gd name="connsiteY51" fmla="*/ 2422749 h 6858000"/>
              <a:gd name="connsiteX52" fmla="*/ 594479 w 5734864"/>
              <a:gd name="connsiteY52" fmla="*/ 2426002 h 6858000"/>
              <a:gd name="connsiteX53" fmla="*/ 591963 w 5734864"/>
              <a:gd name="connsiteY53" fmla="*/ 2431950 h 6858000"/>
              <a:gd name="connsiteX54" fmla="*/ 591544 w 5734864"/>
              <a:gd name="connsiteY54" fmla="*/ 2433897 h 6858000"/>
              <a:gd name="connsiteX55" fmla="*/ 589519 w 5734864"/>
              <a:gd name="connsiteY55" fmla="*/ 2451398 h 6858000"/>
              <a:gd name="connsiteX56" fmla="*/ 590037 w 5734864"/>
              <a:gd name="connsiteY56" fmla="*/ 2455536 h 6858000"/>
              <a:gd name="connsiteX57" fmla="*/ 588179 w 5734864"/>
              <a:gd name="connsiteY57" fmla="*/ 2462981 h 6858000"/>
              <a:gd name="connsiteX58" fmla="*/ 583434 w 5734864"/>
              <a:gd name="connsiteY58" fmla="*/ 2503991 h 6858000"/>
              <a:gd name="connsiteX59" fmla="*/ 567942 w 5734864"/>
              <a:gd name="connsiteY59" fmla="*/ 2652936 h 6858000"/>
              <a:gd name="connsiteX60" fmla="*/ 573869 w 5734864"/>
              <a:gd name="connsiteY60" fmla="*/ 2670188 h 6858000"/>
              <a:gd name="connsiteX61" fmla="*/ 575243 w 5734864"/>
              <a:gd name="connsiteY61" fmla="*/ 2688114 h 6858000"/>
              <a:gd name="connsiteX62" fmla="*/ 573824 w 5734864"/>
              <a:gd name="connsiteY62" fmla="*/ 2689856 h 6858000"/>
              <a:gd name="connsiteX63" fmla="*/ 570699 w 5734864"/>
              <a:gd name="connsiteY63" fmla="*/ 2709353 h 6858000"/>
              <a:gd name="connsiteX64" fmla="*/ 573192 w 5734864"/>
              <a:gd name="connsiteY64" fmla="*/ 2714527 h 6858000"/>
              <a:gd name="connsiteX65" fmla="*/ 572044 w 5734864"/>
              <a:gd name="connsiteY65" fmla="*/ 2728187 h 6858000"/>
              <a:gd name="connsiteX66" fmla="*/ 572465 w 5734864"/>
              <a:gd name="connsiteY66" fmla="*/ 2755863 h 6858000"/>
              <a:gd name="connsiteX67" fmla="*/ 570028 w 5734864"/>
              <a:gd name="connsiteY67" fmla="*/ 2760324 h 6858000"/>
              <a:gd name="connsiteX68" fmla="*/ 566748 w 5734864"/>
              <a:gd name="connsiteY68" fmla="*/ 2800948 h 6858000"/>
              <a:gd name="connsiteX69" fmla="*/ 565509 w 5734864"/>
              <a:gd name="connsiteY69" fmla="*/ 2801167 h 6858000"/>
              <a:gd name="connsiteX70" fmla="*/ 559367 w 5734864"/>
              <a:gd name="connsiteY70" fmla="*/ 2811129 h 6858000"/>
              <a:gd name="connsiteX71" fmla="*/ 550354 w 5734864"/>
              <a:gd name="connsiteY71" fmla="*/ 2830949 h 6858000"/>
              <a:gd name="connsiteX72" fmla="*/ 514795 w 5734864"/>
              <a:gd name="connsiteY72" fmla="*/ 2872433 h 6858000"/>
              <a:gd name="connsiteX73" fmla="*/ 509875 w 5734864"/>
              <a:gd name="connsiteY73" fmla="*/ 2923099 h 6858000"/>
              <a:gd name="connsiteX74" fmla="*/ 509577 w 5734864"/>
              <a:gd name="connsiteY74" fmla="*/ 2923197 h 6858000"/>
              <a:gd name="connsiteX75" fmla="*/ 507597 w 5734864"/>
              <a:gd name="connsiteY75" fmla="*/ 2931868 h 6858000"/>
              <a:gd name="connsiteX76" fmla="*/ 507379 w 5734864"/>
              <a:gd name="connsiteY76" fmla="*/ 2938322 h 6858000"/>
              <a:gd name="connsiteX77" fmla="*/ 504725 w 5734864"/>
              <a:gd name="connsiteY77" fmla="*/ 2954519 h 6858000"/>
              <a:gd name="connsiteX78" fmla="*/ 502018 w 5734864"/>
              <a:gd name="connsiteY78" fmla="*/ 2959643 h 6858000"/>
              <a:gd name="connsiteX79" fmla="*/ 498360 w 5734864"/>
              <a:gd name="connsiteY79" fmla="*/ 2961019 h 6858000"/>
              <a:gd name="connsiteX80" fmla="*/ 498483 w 5734864"/>
              <a:gd name="connsiteY80" fmla="*/ 2962590 h 6858000"/>
              <a:gd name="connsiteX81" fmla="*/ 484403 w 5734864"/>
              <a:gd name="connsiteY81" fmla="*/ 2990538 h 6858000"/>
              <a:gd name="connsiteX82" fmla="*/ 463075 w 5734864"/>
              <a:gd name="connsiteY82" fmla="*/ 3055956 h 6858000"/>
              <a:gd name="connsiteX83" fmla="*/ 455013 w 5734864"/>
              <a:gd name="connsiteY83" fmla="*/ 3094482 h 6858000"/>
              <a:gd name="connsiteX84" fmla="*/ 428391 w 5734864"/>
              <a:gd name="connsiteY84" fmla="*/ 3198850 h 6858000"/>
              <a:gd name="connsiteX85" fmla="*/ 401440 w 5734864"/>
              <a:gd name="connsiteY85" fmla="*/ 3307560 h 6858000"/>
              <a:gd name="connsiteX86" fmla="*/ 386076 w 5734864"/>
              <a:gd name="connsiteY86" fmla="*/ 3373943 h 6858000"/>
              <a:gd name="connsiteX87" fmla="*/ 374726 w 5734864"/>
              <a:gd name="connsiteY87" fmla="*/ 3381364 h 6858000"/>
              <a:gd name="connsiteX88" fmla="*/ 369145 w 5734864"/>
              <a:gd name="connsiteY88" fmla="*/ 3383729 h 6858000"/>
              <a:gd name="connsiteX89" fmla="*/ 364294 w 5734864"/>
              <a:gd name="connsiteY89" fmla="*/ 3414159 h 6858000"/>
              <a:gd name="connsiteX90" fmla="*/ 366450 w 5734864"/>
              <a:gd name="connsiteY90" fmla="*/ 3436925 h 6858000"/>
              <a:gd name="connsiteX91" fmla="*/ 351743 w 5734864"/>
              <a:gd name="connsiteY91" fmla="*/ 3521619 h 6858000"/>
              <a:gd name="connsiteX92" fmla="*/ 345784 w 5734864"/>
              <a:gd name="connsiteY92" fmla="*/ 3603757 h 6858000"/>
              <a:gd name="connsiteX93" fmla="*/ 344198 w 5734864"/>
              <a:gd name="connsiteY93" fmla="*/ 3652424 h 6858000"/>
              <a:gd name="connsiteX94" fmla="*/ 352450 w 5734864"/>
              <a:gd name="connsiteY94" fmla="*/ 3665222 h 6858000"/>
              <a:gd name="connsiteX95" fmla="*/ 342621 w 5734864"/>
              <a:gd name="connsiteY95" fmla="*/ 3700804 h 6858000"/>
              <a:gd name="connsiteX96" fmla="*/ 341514 w 5734864"/>
              <a:gd name="connsiteY96" fmla="*/ 3734774 h 6858000"/>
              <a:gd name="connsiteX97" fmla="*/ 340607 w 5734864"/>
              <a:gd name="connsiteY97" fmla="*/ 3785153 h 6858000"/>
              <a:gd name="connsiteX98" fmla="*/ 340707 w 5734864"/>
              <a:gd name="connsiteY98" fmla="*/ 3788177 h 6858000"/>
              <a:gd name="connsiteX99" fmla="*/ 340361 w 5734864"/>
              <a:gd name="connsiteY99" fmla="*/ 3798803 h 6858000"/>
              <a:gd name="connsiteX100" fmla="*/ 339642 w 5734864"/>
              <a:gd name="connsiteY100" fmla="*/ 3838750 h 6858000"/>
              <a:gd name="connsiteX101" fmla="*/ 360295 w 5734864"/>
              <a:gd name="connsiteY101" fmla="*/ 4015196 h 6858000"/>
              <a:gd name="connsiteX102" fmla="*/ 339043 w 5734864"/>
              <a:gd name="connsiteY102" fmla="*/ 4052778 h 6858000"/>
              <a:gd name="connsiteX103" fmla="*/ 339343 w 5734864"/>
              <a:gd name="connsiteY103" fmla="*/ 4096257 h 6858000"/>
              <a:gd name="connsiteX104" fmla="*/ 340786 w 5734864"/>
              <a:gd name="connsiteY104" fmla="*/ 4321136 h 6858000"/>
              <a:gd name="connsiteX105" fmla="*/ 343158 w 5734864"/>
              <a:gd name="connsiteY105" fmla="*/ 4429174 h 6858000"/>
              <a:gd name="connsiteX106" fmla="*/ 334599 w 5734864"/>
              <a:gd name="connsiteY106" fmla="*/ 4449938 h 6858000"/>
              <a:gd name="connsiteX107" fmla="*/ 332890 w 5734864"/>
              <a:gd name="connsiteY107" fmla="*/ 4453515 h 6858000"/>
              <a:gd name="connsiteX108" fmla="*/ 331105 w 5734864"/>
              <a:gd name="connsiteY108" fmla="*/ 4467941 h 6858000"/>
              <a:gd name="connsiteX109" fmla="*/ 324289 w 5734864"/>
              <a:gd name="connsiteY109" fmla="*/ 4471861 h 6858000"/>
              <a:gd name="connsiteX110" fmla="*/ 317079 w 5734864"/>
              <a:gd name="connsiteY110" fmla="*/ 4493468 h 6858000"/>
              <a:gd name="connsiteX111" fmla="*/ 315557 w 5734864"/>
              <a:gd name="connsiteY111" fmla="*/ 4520067 h 6858000"/>
              <a:gd name="connsiteX112" fmla="*/ 315240 w 5734864"/>
              <a:gd name="connsiteY112" fmla="*/ 4536872 h 6858000"/>
              <a:gd name="connsiteX113" fmla="*/ 316200 w 5734864"/>
              <a:gd name="connsiteY113" fmla="*/ 4538297 h 6858000"/>
              <a:gd name="connsiteX114" fmla="*/ 317507 w 5734864"/>
              <a:gd name="connsiteY114" fmla="*/ 4547582 h 6858000"/>
              <a:gd name="connsiteX115" fmla="*/ 323078 w 5734864"/>
              <a:gd name="connsiteY115" fmla="*/ 4592102 h 6858000"/>
              <a:gd name="connsiteX116" fmla="*/ 328722 w 5734864"/>
              <a:gd name="connsiteY116" fmla="*/ 4667914 h 6858000"/>
              <a:gd name="connsiteX117" fmla="*/ 335597 w 5734864"/>
              <a:gd name="connsiteY117" fmla="*/ 4695035 h 6858000"/>
              <a:gd name="connsiteX118" fmla="*/ 339485 w 5734864"/>
              <a:gd name="connsiteY118" fmla="*/ 4695979 h 6858000"/>
              <a:gd name="connsiteX119" fmla="*/ 341089 w 5734864"/>
              <a:gd name="connsiteY119" fmla="*/ 4704268 h 6858000"/>
              <a:gd name="connsiteX120" fmla="*/ 342177 w 5734864"/>
              <a:gd name="connsiteY120" fmla="*/ 4706060 h 6858000"/>
              <a:gd name="connsiteX121" fmla="*/ 347751 w 5734864"/>
              <a:gd name="connsiteY121" fmla="*/ 4716754 h 6858000"/>
              <a:gd name="connsiteX122" fmla="*/ 344125 w 5734864"/>
              <a:gd name="connsiteY122" fmla="*/ 4764669 h 6858000"/>
              <a:gd name="connsiteX123" fmla="*/ 340188 w 5734864"/>
              <a:gd name="connsiteY123" fmla="*/ 4779386 h 6858000"/>
              <a:gd name="connsiteX124" fmla="*/ 335146 w 5734864"/>
              <a:gd name="connsiteY124" fmla="*/ 4787491 h 6858000"/>
              <a:gd name="connsiteX125" fmla="*/ 319124 w 5734864"/>
              <a:gd name="connsiteY125" fmla="*/ 4843514 h 6858000"/>
              <a:gd name="connsiteX126" fmla="*/ 305956 w 5734864"/>
              <a:gd name="connsiteY126" fmla="*/ 4881505 h 6858000"/>
              <a:gd name="connsiteX127" fmla="*/ 301062 w 5734864"/>
              <a:gd name="connsiteY127" fmla="*/ 4889332 h 6858000"/>
              <a:gd name="connsiteX128" fmla="*/ 302141 w 5734864"/>
              <a:gd name="connsiteY128" fmla="*/ 4899400 h 6858000"/>
              <a:gd name="connsiteX129" fmla="*/ 304424 w 5734864"/>
              <a:gd name="connsiteY129" fmla="*/ 4902664 h 6858000"/>
              <a:gd name="connsiteX130" fmla="*/ 293123 w 5734864"/>
              <a:gd name="connsiteY130" fmla="*/ 4932769 h 6858000"/>
              <a:gd name="connsiteX131" fmla="*/ 292275 w 5734864"/>
              <a:gd name="connsiteY131" fmla="*/ 4936482 h 6858000"/>
              <a:gd name="connsiteX132" fmla="*/ 288304 w 5734864"/>
              <a:gd name="connsiteY132" fmla="*/ 4962325 h 6858000"/>
              <a:gd name="connsiteX133" fmla="*/ 287420 w 5734864"/>
              <a:gd name="connsiteY133" fmla="*/ 5042193 h 6858000"/>
              <a:gd name="connsiteX134" fmla="*/ 287020 w 5734864"/>
              <a:gd name="connsiteY134" fmla="*/ 5065655 h 6858000"/>
              <a:gd name="connsiteX135" fmla="*/ 288488 w 5734864"/>
              <a:gd name="connsiteY135" fmla="*/ 5082216 h 6858000"/>
              <a:gd name="connsiteX136" fmla="*/ 282763 w 5734864"/>
              <a:gd name="connsiteY136" fmla="*/ 5127114 h 6858000"/>
              <a:gd name="connsiteX137" fmla="*/ 269316 w 5734864"/>
              <a:gd name="connsiteY137" fmla="*/ 5202682 h 6858000"/>
              <a:gd name="connsiteX138" fmla="*/ 269174 w 5734864"/>
              <a:gd name="connsiteY138" fmla="*/ 5230835 h 6858000"/>
              <a:gd name="connsiteX139" fmla="*/ 272679 w 5734864"/>
              <a:gd name="connsiteY139" fmla="*/ 5232660 h 6858000"/>
              <a:gd name="connsiteX140" fmla="*/ 272160 w 5734864"/>
              <a:gd name="connsiteY140" fmla="*/ 5241150 h 6858000"/>
              <a:gd name="connsiteX141" fmla="*/ 272760 w 5734864"/>
              <a:gd name="connsiteY141" fmla="*/ 5243156 h 6858000"/>
              <a:gd name="connsiteX142" fmla="*/ 275462 w 5734864"/>
              <a:gd name="connsiteY142" fmla="*/ 5254919 h 6858000"/>
              <a:gd name="connsiteX143" fmla="*/ 262897 w 5734864"/>
              <a:gd name="connsiteY143" fmla="*/ 5286259 h 6858000"/>
              <a:gd name="connsiteX144" fmla="*/ 252761 w 5734864"/>
              <a:gd name="connsiteY144" fmla="*/ 5357801 h 6858000"/>
              <a:gd name="connsiteX145" fmla="*/ 242360 w 5734864"/>
              <a:gd name="connsiteY145" fmla="*/ 5460080 h 6858000"/>
              <a:gd name="connsiteX146" fmla="*/ 229880 w 5734864"/>
              <a:gd name="connsiteY146" fmla="*/ 5539714 h 6858000"/>
              <a:gd name="connsiteX147" fmla="*/ 204283 w 5734864"/>
              <a:gd name="connsiteY147" fmla="*/ 5639080 h 6858000"/>
              <a:gd name="connsiteX148" fmla="*/ 198948 w 5734864"/>
              <a:gd name="connsiteY148" fmla="*/ 5710958 h 6858000"/>
              <a:gd name="connsiteX149" fmla="*/ 192367 w 5734864"/>
              <a:gd name="connsiteY149" fmla="*/ 5719859 h 6858000"/>
              <a:gd name="connsiteX150" fmla="*/ 188035 w 5734864"/>
              <a:gd name="connsiteY150" fmla="*/ 5729935 h 6858000"/>
              <a:gd name="connsiteX151" fmla="*/ 188428 w 5734864"/>
              <a:gd name="connsiteY151" fmla="*/ 5731182 h 6858000"/>
              <a:gd name="connsiteX152" fmla="*/ 181635 w 5734864"/>
              <a:gd name="connsiteY152" fmla="*/ 5753538 h 6858000"/>
              <a:gd name="connsiteX153" fmla="*/ 169744 w 5734864"/>
              <a:gd name="connsiteY153" fmla="*/ 5796307 h 6858000"/>
              <a:gd name="connsiteX154" fmla="*/ 170351 w 5734864"/>
              <a:gd name="connsiteY154" fmla="*/ 5796644 h 6858000"/>
              <a:gd name="connsiteX155" fmla="*/ 171559 w 5734864"/>
              <a:gd name="connsiteY155" fmla="*/ 5803435 h 6858000"/>
              <a:gd name="connsiteX156" fmla="*/ 172284 w 5734864"/>
              <a:gd name="connsiteY156" fmla="*/ 5816391 h 6858000"/>
              <a:gd name="connsiteX157" fmla="*/ 182542 w 5734864"/>
              <a:gd name="connsiteY157" fmla="*/ 5846382 h 6858000"/>
              <a:gd name="connsiteX158" fmla="*/ 175877 w 5734864"/>
              <a:gd name="connsiteY158" fmla="*/ 5871336 h 6858000"/>
              <a:gd name="connsiteX159" fmla="*/ 174910 w 5734864"/>
              <a:gd name="connsiteY159" fmla="*/ 5876376 h 6858000"/>
              <a:gd name="connsiteX160" fmla="*/ 175047 w 5734864"/>
              <a:gd name="connsiteY160" fmla="*/ 5876483 h 6858000"/>
              <a:gd name="connsiteX161" fmla="*/ 174335 w 5734864"/>
              <a:gd name="connsiteY161" fmla="*/ 5881814 h 6858000"/>
              <a:gd name="connsiteX162" fmla="*/ 171273 w 5734864"/>
              <a:gd name="connsiteY162" fmla="*/ 5895339 h 6858000"/>
              <a:gd name="connsiteX163" fmla="*/ 171658 w 5734864"/>
              <a:gd name="connsiteY163" fmla="*/ 5898749 h 6858000"/>
              <a:gd name="connsiteX164" fmla="*/ 174658 w 5734864"/>
              <a:gd name="connsiteY164" fmla="*/ 5919558 h 6858000"/>
              <a:gd name="connsiteX165" fmla="*/ 169099 w 5734864"/>
              <a:gd name="connsiteY165" fmla="*/ 5984417 h 6858000"/>
              <a:gd name="connsiteX166" fmla="*/ 162007 w 5734864"/>
              <a:gd name="connsiteY166" fmla="*/ 6049043 h 6858000"/>
              <a:gd name="connsiteX167" fmla="*/ 156875 w 5734864"/>
              <a:gd name="connsiteY167" fmla="*/ 6114000 h 6858000"/>
              <a:gd name="connsiteX168" fmla="*/ 165441 w 5734864"/>
              <a:gd name="connsiteY168" fmla="*/ 6146938 h 6858000"/>
              <a:gd name="connsiteX169" fmla="*/ 165177 w 5734864"/>
              <a:gd name="connsiteY169" fmla="*/ 6150658 h 6858000"/>
              <a:gd name="connsiteX170" fmla="*/ 161772 w 5734864"/>
              <a:gd name="connsiteY170" fmla="*/ 6160011 h 6858000"/>
              <a:gd name="connsiteX171" fmla="*/ 160051 w 5734864"/>
              <a:gd name="connsiteY171" fmla="*/ 6163393 h 6858000"/>
              <a:gd name="connsiteX172" fmla="*/ 158473 w 5734864"/>
              <a:gd name="connsiteY172" fmla="*/ 6168628 h 6858000"/>
              <a:gd name="connsiteX173" fmla="*/ 158573 w 5734864"/>
              <a:gd name="connsiteY173" fmla="*/ 6168799 h 6858000"/>
              <a:gd name="connsiteX174" fmla="*/ 146463 w 5734864"/>
              <a:gd name="connsiteY174" fmla="*/ 6196671 h 6858000"/>
              <a:gd name="connsiteX175" fmla="*/ 150209 w 5734864"/>
              <a:gd name="connsiteY175" fmla="*/ 6232365 h 6858000"/>
              <a:gd name="connsiteX176" fmla="*/ 148544 w 5734864"/>
              <a:gd name="connsiteY176" fmla="*/ 6246162 h 6858000"/>
              <a:gd name="connsiteX177" fmla="*/ 148403 w 5734864"/>
              <a:gd name="connsiteY177" fmla="*/ 6253754 h 6858000"/>
              <a:gd name="connsiteX178" fmla="*/ 138880 w 5734864"/>
              <a:gd name="connsiteY178" fmla="*/ 6276449 h 6858000"/>
              <a:gd name="connsiteX179" fmla="*/ 138683 w 5734864"/>
              <a:gd name="connsiteY179" fmla="*/ 6279721 h 6858000"/>
              <a:gd name="connsiteX180" fmla="*/ 130721 w 5734864"/>
              <a:gd name="connsiteY180" fmla="*/ 6293675 h 6858000"/>
              <a:gd name="connsiteX181" fmla="*/ 120717 w 5734864"/>
              <a:gd name="connsiteY181" fmla="*/ 6313967 h 6858000"/>
              <a:gd name="connsiteX182" fmla="*/ 120841 w 5734864"/>
              <a:gd name="connsiteY182" fmla="*/ 6315437 h 6858000"/>
              <a:gd name="connsiteX183" fmla="*/ 115208 w 5734864"/>
              <a:gd name="connsiteY183" fmla="*/ 6324024 h 6858000"/>
              <a:gd name="connsiteX184" fmla="*/ 101217 w 5734864"/>
              <a:gd name="connsiteY184" fmla="*/ 6365923 h 6858000"/>
              <a:gd name="connsiteX185" fmla="*/ 74946 w 5734864"/>
              <a:gd name="connsiteY185" fmla="*/ 6556817 h 6858000"/>
              <a:gd name="connsiteX186" fmla="*/ 16001 w 5734864"/>
              <a:gd name="connsiteY186" fmla="*/ 6808678 h 6858000"/>
              <a:gd name="connsiteX187" fmla="*/ 0 w 5734864"/>
              <a:gd name="connsiteY187" fmla="*/ 6858000 h 6858000"/>
              <a:gd name="connsiteX188" fmla="*/ 5734864 w 5734864"/>
              <a:gd name="connsiteY188" fmla="*/ 6858000 h 6858000"/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6695 w 5734864"/>
              <a:gd name="connsiteY13" fmla="*/ 1035077 h 6858000"/>
              <a:gd name="connsiteX14" fmla="*/ 847865 w 5734864"/>
              <a:gd name="connsiteY14" fmla="*/ 1070795 h 6858000"/>
              <a:gd name="connsiteX15" fmla="*/ 862786 w 5734864"/>
              <a:gd name="connsiteY15" fmla="*/ 1238994 h 6858000"/>
              <a:gd name="connsiteX16" fmla="*/ 859345 w 5734864"/>
              <a:gd name="connsiteY16" fmla="*/ 1380427 h 6858000"/>
              <a:gd name="connsiteX17" fmla="*/ 855172 w 5734864"/>
              <a:gd name="connsiteY17" fmla="*/ 1435262 h 6858000"/>
              <a:gd name="connsiteX18" fmla="*/ 860494 w 5734864"/>
              <a:gd name="connsiteY18" fmla="*/ 1453861 h 6858000"/>
              <a:gd name="connsiteX19" fmla="*/ 853731 w 5734864"/>
              <a:gd name="connsiteY19" fmla="*/ 1467047 h 6858000"/>
              <a:gd name="connsiteX20" fmla="*/ 845847 w 5734864"/>
              <a:gd name="connsiteY20" fmla="*/ 1502307 h 6858000"/>
              <a:gd name="connsiteX21" fmla="*/ 817613 w 5734864"/>
              <a:gd name="connsiteY21" fmla="*/ 1565166 h 6858000"/>
              <a:gd name="connsiteX22" fmla="*/ 804223 w 5734864"/>
              <a:gd name="connsiteY22" fmla="*/ 1601941 h 6858000"/>
              <a:gd name="connsiteX23" fmla="*/ 791773 w 5734864"/>
              <a:gd name="connsiteY23" fmla="*/ 1627005 h 6858000"/>
              <a:gd name="connsiteX24" fmla="*/ 774645 w 5734864"/>
              <a:gd name="connsiteY24" fmla="*/ 1699922 h 6858000"/>
              <a:gd name="connsiteX25" fmla="*/ 752343 w 5734864"/>
              <a:gd name="connsiteY25" fmla="*/ 1824604 h 6858000"/>
              <a:gd name="connsiteX26" fmla="*/ 746254 w 5734864"/>
              <a:gd name="connsiteY26" fmla="*/ 1850222 h 6858000"/>
              <a:gd name="connsiteX27" fmla="*/ 728600 w 5734864"/>
              <a:gd name="connsiteY27" fmla="*/ 1869603 h 6858000"/>
              <a:gd name="connsiteX28" fmla="*/ 724396 w 5734864"/>
              <a:gd name="connsiteY28" fmla="*/ 1883104 h 6858000"/>
              <a:gd name="connsiteX29" fmla="*/ 722165 w 5734864"/>
              <a:gd name="connsiteY29" fmla="*/ 1885924 h 6858000"/>
              <a:gd name="connsiteX30" fmla="*/ 721338 w 5734864"/>
              <a:gd name="connsiteY30" fmla="*/ 1887123 h 6858000"/>
              <a:gd name="connsiteX31" fmla="*/ 714840 w 5734864"/>
              <a:gd name="connsiteY31" fmla="*/ 1902274 h 6858000"/>
              <a:gd name="connsiteX32" fmla="*/ 722847 w 5734864"/>
              <a:gd name="connsiteY32" fmla="*/ 1929891 h 6858000"/>
              <a:gd name="connsiteX33" fmla="*/ 714660 w 5734864"/>
              <a:gd name="connsiteY33" fmla="*/ 1982709 h 6858000"/>
              <a:gd name="connsiteX34" fmla="*/ 710759 w 5734864"/>
              <a:gd name="connsiteY34" fmla="*/ 2013010 h 6858000"/>
              <a:gd name="connsiteX35" fmla="*/ 697927 w 5734864"/>
              <a:gd name="connsiteY35" fmla="*/ 2069833 h 6858000"/>
              <a:gd name="connsiteX36" fmla="*/ 693594 w 5734864"/>
              <a:gd name="connsiteY36" fmla="*/ 2103731 h 6858000"/>
              <a:gd name="connsiteX37" fmla="*/ 691109 w 5734864"/>
              <a:gd name="connsiteY37" fmla="*/ 2124027 h 6858000"/>
              <a:gd name="connsiteX38" fmla="*/ 676593 w 5734864"/>
              <a:gd name="connsiteY38" fmla="*/ 2176182 h 6858000"/>
              <a:gd name="connsiteX39" fmla="*/ 633227 w 5734864"/>
              <a:gd name="connsiteY39" fmla="*/ 2258036 h 6858000"/>
              <a:gd name="connsiteX40" fmla="*/ 625564 w 5734864"/>
              <a:gd name="connsiteY40" fmla="*/ 2284567 h 6858000"/>
              <a:gd name="connsiteX41" fmla="*/ 627074 w 5734864"/>
              <a:gd name="connsiteY41" fmla="*/ 2289605 h 6858000"/>
              <a:gd name="connsiteX42" fmla="*/ 614574 w 5734864"/>
              <a:gd name="connsiteY42" fmla="*/ 2308717 h 6858000"/>
              <a:gd name="connsiteX43" fmla="*/ 606890 w 5734864"/>
              <a:gd name="connsiteY43" fmla="*/ 2320662 h 6858000"/>
              <a:gd name="connsiteX44" fmla="*/ 605558 w 5734864"/>
              <a:gd name="connsiteY44" fmla="*/ 2327897 h 6858000"/>
              <a:gd name="connsiteX45" fmla="*/ 602202 w 5734864"/>
              <a:gd name="connsiteY45" fmla="*/ 2357749 h 6858000"/>
              <a:gd name="connsiteX46" fmla="*/ 600213 w 5734864"/>
              <a:gd name="connsiteY46" fmla="*/ 2364905 h 6858000"/>
              <a:gd name="connsiteX47" fmla="*/ 597160 w 5734864"/>
              <a:gd name="connsiteY47" fmla="*/ 2388351 h 6858000"/>
              <a:gd name="connsiteX48" fmla="*/ 597982 w 5734864"/>
              <a:gd name="connsiteY48" fmla="*/ 2402296 h 6858000"/>
              <a:gd name="connsiteX49" fmla="*/ 593150 w 5734864"/>
              <a:gd name="connsiteY49" fmla="*/ 2420015 h 6858000"/>
              <a:gd name="connsiteX50" fmla="*/ 592833 w 5734864"/>
              <a:gd name="connsiteY50" fmla="*/ 2422749 h 6858000"/>
              <a:gd name="connsiteX51" fmla="*/ 594479 w 5734864"/>
              <a:gd name="connsiteY51" fmla="*/ 2426002 h 6858000"/>
              <a:gd name="connsiteX52" fmla="*/ 591963 w 5734864"/>
              <a:gd name="connsiteY52" fmla="*/ 2431950 h 6858000"/>
              <a:gd name="connsiteX53" fmla="*/ 591544 w 5734864"/>
              <a:gd name="connsiteY53" fmla="*/ 2433897 h 6858000"/>
              <a:gd name="connsiteX54" fmla="*/ 589519 w 5734864"/>
              <a:gd name="connsiteY54" fmla="*/ 2451398 h 6858000"/>
              <a:gd name="connsiteX55" fmla="*/ 590037 w 5734864"/>
              <a:gd name="connsiteY55" fmla="*/ 2455536 h 6858000"/>
              <a:gd name="connsiteX56" fmla="*/ 588179 w 5734864"/>
              <a:gd name="connsiteY56" fmla="*/ 2462981 h 6858000"/>
              <a:gd name="connsiteX57" fmla="*/ 583434 w 5734864"/>
              <a:gd name="connsiteY57" fmla="*/ 2503991 h 6858000"/>
              <a:gd name="connsiteX58" fmla="*/ 567942 w 5734864"/>
              <a:gd name="connsiteY58" fmla="*/ 2652936 h 6858000"/>
              <a:gd name="connsiteX59" fmla="*/ 573869 w 5734864"/>
              <a:gd name="connsiteY59" fmla="*/ 2670188 h 6858000"/>
              <a:gd name="connsiteX60" fmla="*/ 575243 w 5734864"/>
              <a:gd name="connsiteY60" fmla="*/ 2688114 h 6858000"/>
              <a:gd name="connsiteX61" fmla="*/ 573824 w 5734864"/>
              <a:gd name="connsiteY61" fmla="*/ 2689856 h 6858000"/>
              <a:gd name="connsiteX62" fmla="*/ 570699 w 5734864"/>
              <a:gd name="connsiteY62" fmla="*/ 2709353 h 6858000"/>
              <a:gd name="connsiteX63" fmla="*/ 573192 w 5734864"/>
              <a:gd name="connsiteY63" fmla="*/ 2714527 h 6858000"/>
              <a:gd name="connsiteX64" fmla="*/ 572044 w 5734864"/>
              <a:gd name="connsiteY64" fmla="*/ 2728187 h 6858000"/>
              <a:gd name="connsiteX65" fmla="*/ 572465 w 5734864"/>
              <a:gd name="connsiteY65" fmla="*/ 2755863 h 6858000"/>
              <a:gd name="connsiteX66" fmla="*/ 570028 w 5734864"/>
              <a:gd name="connsiteY66" fmla="*/ 2760324 h 6858000"/>
              <a:gd name="connsiteX67" fmla="*/ 566748 w 5734864"/>
              <a:gd name="connsiteY67" fmla="*/ 2800948 h 6858000"/>
              <a:gd name="connsiteX68" fmla="*/ 565509 w 5734864"/>
              <a:gd name="connsiteY68" fmla="*/ 2801167 h 6858000"/>
              <a:gd name="connsiteX69" fmla="*/ 559367 w 5734864"/>
              <a:gd name="connsiteY69" fmla="*/ 2811129 h 6858000"/>
              <a:gd name="connsiteX70" fmla="*/ 550354 w 5734864"/>
              <a:gd name="connsiteY70" fmla="*/ 2830949 h 6858000"/>
              <a:gd name="connsiteX71" fmla="*/ 514795 w 5734864"/>
              <a:gd name="connsiteY71" fmla="*/ 2872433 h 6858000"/>
              <a:gd name="connsiteX72" fmla="*/ 509875 w 5734864"/>
              <a:gd name="connsiteY72" fmla="*/ 2923099 h 6858000"/>
              <a:gd name="connsiteX73" fmla="*/ 509577 w 5734864"/>
              <a:gd name="connsiteY73" fmla="*/ 2923197 h 6858000"/>
              <a:gd name="connsiteX74" fmla="*/ 507597 w 5734864"/>
              <a:gd name="connsiteY74" fmla="*/ 2931868 h 6858000"/>
              <a:gd name="connsiteX75" fmla="*/ 507379 w 5734864"/>
              <a:gd name="connsiteY75" fmla="*/ 2938322 h 6858000"/>
              <a:gd name="connsiteX76" fmla="*/ 504725 w 5734864"/>
              <a:gd name="connsiteY76" fmla="*/ 2954519 h 6858000"/>
              <a:gd name="connsiteX77" fmla="*/ 502018 w 5734864"/>
              <a:gd name="connsiteY77" fmla="*/ 2959643 h 6858000"/>
              <a:gd name="connsiteX78" fmla="*/ 498360 w 5734864"/>
              <a:gd name="connsiteY78" fmla="*/ 2961019 h 6858000"/>
              <a:gd name="connsiteX79" fmla="*/ 498483 w 5734864"/>
              <a:gd name="connsiteY79" fmla="*/ 2962590 h 6858000"/>
              <a:gd name="connsiteX80" fmla="*/ 484403 w 5734864"/>
              <a:gd name="connsiteY80" fmla="*/ 2990538 h 6858000"/>
              <a:gd name="connsiteX81" fmla="*/ 463075 w 5734864"/>
              <a:gd name="connsiteY81" fmla="*/ 3055956 h 6858000"/>
              <a:gd name="connsiteX82" fmla="*/ 455013 w 5734864"/>
              <a:gd name="connsiteY82" fmla="*/ 3094482 h 6858000"/>
              <a:gd name="connsiteX83" fmla="*/ 428391 w 5734864"/>
              <a:gd name="connsiteY83" fmla="*/ 3198850 h 6858000"/>
              <a:gd name="connsiteX84" fmla="*/ 401440 w 5734864"/>
              <a:gd name="connsiteY84" fmla="*/ 3307560 h 6858000"/>
              <a:gd name="connsiteX85" fmla="*/ 386076 w 5734864"/>
              <a:gd name="connsiteY85" fmla="*/ 3373943 h 6858000"/>
              <a:gd name="connsiteX86" fmla="*/ 374726 w 5734864"/>
              <a:gd name="connsiteY86" fmla="*/ 3381364 h 6858000"/>
              <a:gd name="connsiteX87" fmla="*/ 369145 w 5734864"/>
              <a:gd name="connsiteY87" fmla="*/ 3383729 h 6858000"/>
              <a:gd name="connsiteX88" fmla="*/ 364294 w 5734864"/>
              <a:gd name="connsiteY88" fmla="*/ 3414159 h 6858000"/>
              <a:gd name="connsiteX89" fmla="*/ 366450 w 5734864"/>
              <a:gd name="connsiteY89" fmla="*/ 3436925 h 6858000"/>
              <a:gd name="connsiteX90" fmla="*/ 351743 w 5734864"/>
              <a:gd name="connsiteY90" fmla="*/ 3521619 h 6858000"/>
              <a:gd name="connsiteX91" fmla="*/ 345784 w 5734864"/>
              <a:gd name="connsiteY91" fmla="*/ 3603757 h 6858000"/>
              <a:gd name="connsiteX92" fmla="*/ 344198 w 5734864"/>
              <a:gd name="connsiteY92" fmla="*/ 3652424 h 6858000"/>
              <a:gd name="connsiteX93" fmla="*/ 352450 w 5734864"/>
              <a:gd name="connsiteY93" fmla="*/ 3665222 h 6858000"/>
              <a:gd name="connsiteX94" fmla="*/ 342621 w 5734864"/>
              <a:gd name="connsiteY94" fmla="*/ 3700804 h 6858000"/>
              <a:gd name="connsiteX95" fmla="*/ 341514 w 5734864"/>
              <a:gd name="connsiteY95" fmla="*/ 3734774 h 6858000"/>
              <a:gd name="connsiteX96" fmla="*/ 340607 w 5734864"/>
              <a:gd name="connsiteY96" fmla="*/ 3785153 h 6858000"/>
              <a:gd name="connsiteX97" fmla="*/ 340707 w 5734864"/>
              <a:gd name="connsiteY97" fmla="*/ 3788177 h 6858000"/>
              <a:gd name="connsiteX98" fmla="*/ 340361 w 5734864"/>
              <a:gd name="connsiteY98" fmla="*/ 3798803 h 6858000"/>
              <a:gd name="connsiteX99" fmla="*/ 339642 w 5734864"/>
              <a:gd name="connsiteY99" fmla="*/ 3838750 h 6858000"/>
              <a:gd name="connsiteX100" fmla="*/ 360295 w 5734864"/>
              <a:gd name="connsiteY100" fmla="*/ 4015196 h 6858000"/>
              <a:gd name="connsiteX101" fmla="*/ 339043 w 5734864"/>
              <a:gd name="connsiteY101" fmla="*/ 4052778 h 6858000"/>
              <a:gd name="connsiteX102" fmla="*/ 339343 w 5734864"/>
              <a:gd name="connsiteY102" fmla="*/ 4096257 h 6858000"/>
              <a:gd name="connsiteX103" fmla="*/ 340786 w 5734864"/>
              <a:gd name="connsiteY103" fmla="*/ 4321136 h 6858000"/>
              <a:gd name="connsiteX104" fmla="*/ 343158 w 5734864"/>
              <a:gd name="connsiteY104" fmla="*/ 4429174 h 6858000"/>
              <a:gd name="connsiteX105" fmla="*/ 334599 w 5734864"/>
              <a:gd name="connsiteY105" fmla="*/ 4449938 h 6858000"/>
              <a:gd name="connsiteX106" fmla="*/ 332890 w 5734864"/>
              <a:gd name="connsiteY106" fmla="*/ 4453515 h 6858000"/>
              <a:gd name="connsiteX107" fmla="*/ 331105 w 5734864"/>
              <a:gd name="connsiteY107" fmla="*/ 4467941 h 6858000"/>
              <a:gd name="connsiteX108" fmla="*/ 324289 w 5734864"/>
              <a:gd name="connsiteY108" fmla="*/ 4471861 h 6858000"/>
              <a:gd name="connsiteX109" fmla="*/ 317079 w 5734864"/>
              <a:gd name="connsiteY109" fmla="*/ 4493468 h 6858000"/>
              <a:gd name="connsiteX110" fmla="*/ 315557 w 5734864"/>
              <a:gd name="connsiteY110" fmla="*/ 4520067 h 6858000"/>
              <a:gd name="connsiteX111" fmla="*/ 315240 w 5734864"/>
              <a:gd name="connsiteY111" fmla="*/ 4536872 h 6858000"/>
              <a:gd name="connsiteX112" fmla="*/ 316200 w 5734864"/>
              <a:gd name="connsiteY112" fmla="*/ 4538297 h 6858000"/>
              <a:gd name="connsiteX113" fmla="*/ 317507 w 5734864"/>
              <a:gd name="connsiteY113" fmla="*/ 4547582 h 6858000"/>
              <a:gd name="connsiteX114" fmla="*/ 323078 w 5734864"/>
              <a:gd name="connsiteY114" fmla="*/ 4592102 h 6858000"/>
              <a:gd name="connsiteX115" fmla="*/ 328722 w 5734864"/>
              <a:gd name="connsiteY115" fmla="*/ 4667914 h 6858000"/>
              <a:gd name="connsiteX116" fmla="*/ 335597 w 5734864"/>
              <a:gd name="connsiteY116" fmla="*/ 4695035 h 6858000"/>
              <a:gd name="connsiteX117" fmla="*/ 339485 w 5734864"/>
              <a:gd name="connsiteY117" fmla="*/ 4695979 h 6858000"/>
              <a:gd name="connsiteX118" fmla="*/ 341089 w 5734864"/>
              <a:gd name="connsiteY118" fmla="*/ 4704268 h 6858000"/>
              <a:gd name="connsiteX119" fmla="*/ 342177 w 5734864"/>
              <a:gd name="connsiteY119" fmla="*/ 4706060 h 6858000"/>
              <a:gd name="connsiteX120" fmla="*/ 347751 w 5734864"/>
              <a:gd name="connsiteY120" fmla="*/ 4716754 h 6858000"/>
              <a:gd name="connsiteX121" fmla="*/ 344125 w 5734864"/>
              <a:gd name="connsiteY121" fmla="*/ 4764669 h 6858000"/>
              <a:gd name="connsiteX122" fmla="*/ 340188 w 5734864"/>
              <a:gd name="connsiteY122" fmla="*/ 4779386 h 6858000"/>
              <a:gd name="connsiteX123" fmla="*/ 335146 w 5734864"/>
              <a:gd name="connsiteY123" fmla="*/ 4787491 h 6858000"/>
              <a:gd name="connsiteX124" fmla="*/ 319124 w 5734864"/>
              <a:gd name="connsiteY124" fmla="*/ 4843514 h 6858000"/>
              <a:gd name="connsiteX125" fmla="*/ 305956 w 5734864"/>
              <a:gd name="connsiteY125" fmla="*/ 4881505 h 6858000"/>
              <a:gd name="connsiteX126" fmla="*/ 301062 w 5734864"/>
              <a:gd name="connsiteY126" fmla="*/ 4889332 h 6858000"/>
              <a:gd name="connsiteX127" fmla="*/ 302141 w 5734864"/>
              <a:gd name="connsiteY127" fmla="*/ 4899400 h 6858000"/>
              <a:gd name="connsiteX128" fmla="*/ 304424 w 5734864"/>
              <a:gd name="connsiteY128" fmla="*/ 4902664 h 6858000"/>
              <a:gd name="connsiteX129" fmla="*/ 293123 w 5734864"/>
              <a:gd name="connsiteY129" fmla="*/ 4932769 h 6858000"/>
              <a:gd name="connsiteX130" fmla="*/ 292275 w 5734864"/>
              <a:gd name="connsiteY130" fmla="*/ 4936482 h 6858000"/>
              <a:gd name="connsiteX131" fmla="*/ 288304 w 5734864"/>
              <a:gd name="connsiteY131" fmla="*/ 4962325 h 6858000"/>
              <a:gd name="connsiteX132" fmla="*/ 287420 w 5734864"/>
              <a:gd name="connsiteY132" fmla="*/ 5042193 h 6858000"/>
              <a:gd name="connsiteX133" fmla="*/ 287020 w 5734864"/>
              <a:gd name="connsiteY133" fmla="*/ 5065655 h 6858000"/>
              <a:gd name="connsiteX134" fmla="*/ 288488 w 5734864"/>
              <a:gd name="connsiteY134" fmla="*/ 5082216 h 6858000"/>
              <a:gd name="connsiteX135" fmla="*/ 282763 w 5734864"/>
              <a:gd name="connsiteY135" fmla="*/ 5127114 h 6858000"/>
              <a:gd name="connsiteX136" fmla="*/ 269316 w 5734864"/>
              <a:gd name="connsiteY136" fmla="*/ 5202682 h 6858000"/>
              <a:gd name="connsiteX137" fmla="*/ 269174 w 5734864"/>
              <a:gd name="connsiteY137" fmla="*/ 5230835 h 6858000"/>
              <a:gd name="connsiteX138" fmla="*/ 272679 w 5734864"/>
              <a:gd name="connsiteY138" fmla="*/ 5232660 h 6858000"/>
              <a:gd name="connsiteX139" fmla="*/ 272160 w 5734864"/>
              <a:gd name="connsiteY139" fmla="*/ 5241150 h 6858000"/>
              <a:gd name="connsiteX140" fmla="*/ 272760 w 5734864"/>
              <a:gd name="connsiteY140" fmla="*/ 5243156 h 6858000"/>
              <a:gd name="connsiteX141" fmla="*/ 275462 w 5734864"/>
              <a:gd name="connsiteY141" fmla="*/ 5254919 h 6858000"/>
              <a:gd name="connsiteX142" fmla="*/ 262897 w 5734864"/>
              <a:gd name="connsiteY142" fmla="*/ 5286259 h 6858000"/>
              <a:gd name="connsiteX143" fmla="*/ 252761 w 5734864"/>
              <a:gd name="connsiteY143" fmla="*/ 5357801 h 6858000"/>
              <a:gd name="connsiteX144" fmla="*/ 242360 w 5734864"/>
              <a:gd name="connsiteY144" fmla="*/ 5460080 h 6858000"/>
              <a:gd name="connsiteX145" fmla="*/ 229880 w 5734864"/>
              <a:gd name="connsiteY145" fmla="*/ 5539714 h 6858000"/>
              <a:gd name="connsiteX146" fmla="*/ 204283 w 5734864"/>
              <a:gd name="connsiteY146" fmla="*/ 5639080 h 6858000"/>
              <a:gd name="connsiteX147" fmla="*/ 198948 w 5734864"/>
              <a:gd name="connsiteY147" fmla="*/ 5710958 h 6858000"/>
              <a:gd name="connsiteX148" fmla="*/ 192367 w 5734864"/>
              <a:gd name="connsiteY148" fmla="*/ 5719859 h 6858000"/>
              <a:gd name="connsiteX149" fmla="*/ 188035 w 5734864"/>
              <a:gd name="connsiteY149" fmla="*/ 5729935 h 6858000"/>
              <a:gd name="connsiteX150" fmla="*/ 188428 w 5734864"/>
              <a:gd name="connsiteY150" fmla="*/ 5731182 h 6858000"/>
              <a:gd name="connsiteX151" fmla="*/ 181635 w 5734864"/>
              <a:gd name="connsiteY151" fmla="*/ 5753538 h 6858000"/>
              <a:gd name="connsiteX152" fmla="*/ 169744 w 5734864"/>
              <a:gd name="connsiteY152" fmla="*/ 5796307 h 6858000"/>
              <a:gd name="connsiteX153" fmla="*/ 170351 w 5734864"/>
              <a:gd name="connsiteY153" fmla="*/ 5796644 h 6858000"/>
              <a:gd name="connsiteX154" fmla="*/ 171559 w 5734864"/>
              <a:gd name="connsiteY154" fmla="*/ 5803435 h 6858000"/>
              <a:gd name="connsiteX155" fmla="*/ 172284 w 5734864"/>
              <a:gd name="connsiteY155" fmla="*/ 5816391 h 6858000"/>
              <a:gd name="connsiteX156" fmla="*/ 182542 w 5734864"/>
              <a:gd name="connsiteY156" fmla="*/ 5846382 h 6858000"/>
              <a:gd name="connsiteX157" fmla="*/ 175877 w 5734864"/>
              <a:gd name="connsiteY157" fmla="*/ 5871336 h 6858000"/>
              <a:gd name="connsiteX158" fmla="*/ 174910 w 5734864"/>
              <a:gd name="connsiteY158" fmla="*/ 5876376 h 6858000"/>
              <a:gd name="connsiteX159" fmla="*/ 175047 w 5734864"/>
              <a:gd name="connsiteY159" fmla="*/ 5876483 h 6858000"/>
              <a:gd name="connsiteX160" fmla="*/ 174335 w 5734864"/>
              <a:gd name="connsiteY160" fmla="*/ 5881814 h 6858000"/>
              <a:gd name="connsiteX161" fmla="*/ 171273 w 5734864"/>
              <a:gd name="connsiteY161" fmla="*/ 5895339 h 6858000"/>
              <a:gd name="connsiteX162" fmla="*/ 171658 w 5734864"/>
              <a:gd name="connsiteY162" fmla="*/ 5898749 h 6858000"/>
              <a:gd name="connsiteX163" fmla="*/ 174658 w 5734864"/>
              <a:gd name="connsiteY163" fmla="*/ 5919558 h 6858000"/>
              <a:gd name="connsiteX164" fmla="*/ 169099 w 5734864"/>
              <a:gd name="connsiteY164" fmla="*/ 5984417 h 6858000"/>
              <a:gd name="connsiteX165" fmla="*/ 162007 w 5734864"/>
              <a:gd name="connsiteY165" fmla="*/ 6049043 h 6858000"/>
              <a:gd name="connsiteX166" fmla="*/ 156875 w 5734864"/>
              <a:gd name="connsiteY166" fmla="*/ 6114000 h 6858000"/>
              <a:gd name="connsiteX167" fmla="*/ 165441 w 5734864"/>
              <a:gd name="connsiteY167" fmla="*/ 6146938 h 6858000"/>
              <a:gd name="connsiteX168" fmla="*/ 165177 w 5734864"/>
              <a:gd name="connsiteY168" fmla="*/ 6150658 h 6858000"/>
              <a:gd name="connsiteX169" fmla="*/ 161772 w 5734864"/>
              <a:gd name="connsiteY169" fmla="*/ 6160011 h 6858000"/>
              <a:gd name="connsiteX170" fmla="*/ 160051 w 5734864"/>
              <a:gd name="connsiteY170" fmla="*/ 6163393 h 6858000"/>
              <a:gd name="connsiteX171" fmla="*/ 158473 w 5734864"/>
              <a:gd name="connsiteY171" fmla="*/ 6168628 h 6858000"/>
              <a:gd name="connsiteX172" fmla="*/ 158573 w 5734864"/>
              <a:gd name="connsiteY172" fmla="*/ 6168799 h 6858000"/>
              <a:gd name="connsiteX173" fmla="*/ 146463 w 5734864"/>
              <a:gd name="connsiteY173" fmla="*/ 6196671 h 6858000"/>
              <a:gd name="connsiteX174" fmla="*/ 150209 w 5734864"/>
              <a:gd name="connsiteY174" fmla="*/ 6232365 h 6858000"/>
              <a:gd name="connsiteX175" fmla="*/ 148544 w 5734864"/>
              <a:gd name="connsiteY175" fmla="*/ 6246162 h 6858000"/>
              <a:gd name="connsiteX176" fmla="*/ 148403 w 5734864"/>
              <a:gd name="connsiteY176" fmla="*/ 6253754 h 6858000"/>
              <a:gd name="connsiteX177" fmla="*/ 138880 w 5734864"/>
              <a:gd name="connsiteY177" fmla="*/ 6276449 h 6858000"/>
              <a:gd name="connsiteX178" fmla="*/ 138683 w 5734864"/>
              <a:gd name="connsiteY178" fmla="*/ 6279721 h 6858000"/>
              <a:gd name="connsiteX179" fmla="*/ 130721 w 5734864"/>
              <a:gd name="connsiteY179" fmla="*/ 6293675 h 6858000"/>
              <a:gd name="connsiteX180" fmla="*/ 120717 w 5734864"/>
              <a:gd name="connsiteY180" fmla="*/ 6313967 h 6858000"/>
              <a:gd name="connsiteX181" fmla="*/ 120841 w 5734864"/>
              <a:gd name="connsiteY181" fmla="*/ 6315437 h 6858000"/>
              <a:gd name="connsiteX182" fmla="*/ 115208 w 5734864"/>
              <a:gd name="connsiteY182" fmla="*/ 6324024 h 6858000"/>
              <a:gd name="connsiteX183" fmla="*/ 101217 w 5734864"/>
              <a:gd name="connsiteY183" fmla="*/ 6365923 h 6858000"/>
              <a:gd name="connsiteX184" fmla="*/ 74946 w 5734864"/>
              <a:gd name="connsiteY184" fmla="*/ 6556817 h 6858000"/>
              <a:gd name="connsiteX185" fmla="*/ 16001 w 5734864"/>
              <a:gd name="connsiteY185" fmla="*/ 6808678 h 6858000"/>
              <a:gd name="connsiteX186" fmla="*/ 0 w 5734864"/>
              <a:gd name="connsiteY186" fmla="*/ 6858000 h 6858000"/>
              <a:gd name="connsiteX187" fmla="*/ 5734864 w 5734864"/>
              <a:gd name="connsiteY187" fmla="*/ 6858000 h 6858000"/>
              <a:gd name="connsiteX188" fmla="*/ 5734864 w 5734864"/>
              <a:gd name="connsiteY188" fmla="*/ 0 h 6858000"/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7865 w 5734864"/>
              <a:gd name="connsiteY13" fmla="*/ 1070795 h 6858000"/>
              <a:gd name="connsiteX14" fmla="*/ 862786 w 5734864"/>
              <a:gd name="connsiteY14" fmla="*/ 1238994 h 6858000"/>
              <a:gd name="connsiteX15" fmla="*/ 859345 w 5734864"/>
              <a:gd name="connsiteY15" fmla="*/ 1380427 h 6858000"/>
              <a:gd name="connsiteX16" fmla="*/ 855172 w 5734864"/>
              <a:gd name="connsiteY16" fmla="*/ 1435262 h 6858000"/>
              <a:gd name="connsiteX17" fmla="*/ 860494 w 5734864"/>
              <a:gd name="connsiteY17" fmla="*/ 1453861 h 6858000"/>
              <a:gd name="connsiteX18" fmla="*/ 853731 w 5734864"/>
              <a:gd name="connsiteY18" fmla="*/ 1467047 h 6858000"/>
              <a:gd name="connsiteX19" fmla="*/ 845847 w 5734864"/>
              <a:gd name="connsiteY19" fmla="*/ 1502307 h 6858000"/>
              <a:gd name="connsiteX20" fmla="*/ 817613 w 5734864"/>
              <a:gd name="connsiteY20" fmla="*/ 1565166 h 6858000"/>
              <a:gd name="connsiteX21" fmla="*/ 804223 w 5734864"/>
              <a:gd name="connsiteY21" fmla="*/ 1601941 h 6858000"/>
              <a:gd name="connsiteX22" fmla="*/ 791773 w 5734864"/>
              <a:gd name="connsiteY22" fmla="*/ 1627005 h 6858000"/>
              <a:gd name="connsiteX23" fmla="*/ 774645 w 5734864"/>
              <a:gd name="connsiteY23" fmla="*/ 1699922 h 6858000"/>
              <a:gd name="connsiteX24" fmla="*/ 752343 w 5734864"/>
              <a:gd name="connsiteY24" fmla="*/ 1824604 h 6858000"/>
              <a:gd name="connsiteX25" fmla="*/ 746254 w 5734864"/>
              <a:gd name="connsiteY25" fmla="*/ 1850222 h 6858000"/>
              <a:gd name="connsiteX26" fmla="*/ 728600 w 5734864"/>
              <a:gd name="connsiteY26" fmla="*/ 1869603 h 6858000"/>
              <a:gd name="connsiteX27" fmla="*/ 724396 w 5734864"/>
              <a:gd name="connsiteY27" fmla="*/ 1883104 h 6858000"/>
              <a:gd name="connsiteX28" fmla="*/ 722165 w 5734864"/>
              <a:gd name="connsiteY28" fmla="*/ 1885924 h 6858000"/>
              <a:gd name="connsiteX29" fmla="*/ 721338 w 5734864"/>
              <a:gd name="connsiteY29" fmla="*/ 1887123 h 6858000"/>
              <a:gd name="connsiteX30" fmla="*/ 714840 w 5734864"/>
              <a:gd name="connsiteY30" fmla="*/ 1902274 h 6858000"/>
              <a:gd name="connsiteX31" fmla="*/ 722847 w 5734864"/>
              <a:gd name="connsiteY31" fmla="*/ 1929891 h 6858000"/>
              <a:gd name="connsiteX32" fmla="*/ 714660 w 5734864"/>
              <a:gd name="connsiteY32" fmla="*/ 1982709 h 6858000"/>
              <a:gd name="connsiteX33" fmla="*/ 710759 w 5734864"/>
              <a:gd name="connsiteY33" fmla="*/ 2013010 h 6858000"/>
              <a:gd name="connsiteX34" fmla="*/ 697927 w 5734864"/>
              <a:gd name="connsiteY34" fmla="*/ 2069833 h 6858000"/>
              <a:gd name="connsiteX35" fmla="*/ 693594 w 5734864"/>
              <a:gd name="connsiteY35" fmla="*/ 2103731 h 6858000"/>
              <a:gd name="connsiteX36" fmla="*/ 691109 w 5734864"/>
              <a:gd name="connsiteY36" fmla="*/ 2124027 h 6858000"/>
              <a:gd name="connsiteX37" fmla="*/ 676593 w 5734864"/>
              <a:gd name="connsiteY37" fmla="*/ 2176182 h 6858000"/>
              <a:gd name="connsiteX38" fmla="*/ 633227 w 5734864"/>
              <a:gd name="connsiteY38" fmla="*/ 2258036 h 6858000"/>
              <a:gd name="connsiteX39" fmla="*/ 625564 w 5734864"/>
              <a:gd name="connsiteY39" fmla="*/ 2284567 h 6858000"/>
              <a:gd name="connsiteX40" fmla="*/ 627074 w 5734864"/>
              <a:gd name="connsiteY40" fmla="*/ 2289605 h 6858000"/>
              <a:gd name="connsiteX41" fmla="*/ 614574 w 5734864"/>
              <a:gd name="connsiteY41" fmla="*/ 2308717 h 6858000"/>
              <a:gd name="connsiteX42" fmla="*/ 606890 w 5734864"/>
              <a:gd name="connsiteY42" fmla="*/ 2320662 h 6858000"/>
              <a:gd name="connsiteX43" fmla="*/ 605558 w 5734864"/>
              <a:gd name="connsiteY43" fmla="*/ 2327897 h 6858000"/>
              <a:gd name="connsiteX44" fmla="*/ 602202 w 5734864"/>
              <a:gd name="connsiteY44" fmla="*/ 2357749 h 6858000"/>
              <a:gd name="connsiteX45" fmla="*/ 600213 w 5734864"/>
              <a:gd name="connsiteY45" fmla="*/ 2364905 h 6858000"/>
              <a:gd name="connsiteX46" fmla="*/ 597160 w 5734864"/>
              <a:gd name="connsiteY46" fmla="*/ 2388351 h 6858000"/>
              <a:gd name="connsiteX47" fmla="*/ 597982 w 5734864"/>
              <a:gd name="connsiteY47" fmla="*/ 2402296 h 6858000"/>
              <a:gd name="connsiteX48" fmla="*/ 593150 w 5734864"/>
              <a:gd name="connsiteY48" fmla="*/ 2420015 h 6858000"/>
              <a:gd name="connsiteX49" fmla="*/ 592833 w 5734864"/>
              <a:gd name="connsiteY49" fmla="*/ 2422749 h 6858000"/>
              <a:gd name="connsiteX50" fmla="*/ 594479 w 5734864"/>
              <a:gd name="connsiteY50" fmla="*/ 2426002 h 6858000"/>
              <a:gd name="connsiteX51" fmla="*/ 591963 w 5734864"/>
              <a:gd name="connsiteY51" fmla="*/ 2431950 h 6858000"/>
              <a:gd name="connsiteX52" fmla="*/ 591544 w 5734864"/>
              <a:gd name="connsiteY52" fmla="*/ 2433897 h 6858000"/>
              <a:gd name="connsiteX53" fmla="*/ 589519 w 5734864"/>
              <a:gd name="connsiteY53" fmla="*/ 2451398 h 6858000"/>
              <a:gd name="connsiteX54" fmla="*/ 590037 w 5734864"/>
              <a:gd name="connsiteY54" fmla="*/ 2455536 h 6858000"/>
              <a:gd name="connsiteX55" fmla="*/ 588179 w 5734864"/>
              <a:gd name="connsiteY55" fmla="*/ 2462981 h 6858000"/>
              <a:gd name="connsiteX56" fmla="*/ 583434 w 5734864"/>
              <a:gd name="connsiteY56" fmla="*/ 2503991 h 6858000"/>
              <a:gd name="connsiteX57" fmla="*/ 567942 w 5734864"/>
              <a:gd name="connsiteY57" fmla="*/ 2652936 h 6858000"/>
              <a:gd name="connsiteX58" fmla="*/ 573869 w 5734864"/>
              <a:gd name="connsiteY58" fmla="*/ 2670188 h 6858000"/>
              <a:gd name="connsiteX59" fmla="*/ 575243 w 5734864"/>
              <a:gd name="connsiteY59" fmla="*/ 2688114 h 6858000"/>
              <a:gd name="connsiteX60" fmla="*/ 573824 w 5734864"/>
              <a:gd name="connsiteY60" fmla="*/ 2689856 h 6858000"/>
              <a:gd name="connsiteX61" fmla="*/ 570699 w 5734864"/>
              <a:gd name="connsiteY61" fmla="*/ 2709353 h 6858000"/>
              <a:gd name="connsiteX62" fmla="*/ 573192 w 5734864"/>
              <a:gd name="connsiteY62" fmla="*/ 2714527 h 6858000"/>
              <a:gd name="connsiteX63" fmla="*/ 572044 w 5734864"/>
              <a:gd name="connsiteY63" fmla="*/ 2728187 h 6858000"/>
              <a:gd name="connsiteX64" fmla="*/ 572465 w 5734864"/>
              <a:gd name="connsiteY64" fmla="*/ 2755863 h 6858000"/>
              <a:gd name="connsiteX65" fmla="*/ 570028 w 5734864"/>
              <a:gd name="connsiteY65" fmla="*/ 2760324 h 6858000"/>
              <a:gd name="connsiteX66" fmla="*/ 566748 w 5734864"/>
              <a:gd name="connsiteY66" fmla="*/ 2800948 h 6858000"/>
              <a:gd name="connsiteX67" fmla="*/ 565509 w 5734864"/>
              <a:gd name="connsiteY67" fmla="*/ 2801167 h 6858000"/>
              <a:gd name="connsiteX68" fmla="*/ 559367 w 5734864"/>
              <a:gd name="connsiteY68" fmla="*/ 2811129 h 6858000"/>
              <a:gd name="connsiteX69" fmla="*/ 550354 w 5734864"/>
              <a:gd name="connsiteY69" fmla="*/ 2830949 h 6858000"/>
              <a:gd name="connsiteX70" fmla="*/ 514795 w 5734864"/>
              <a:gd name="connsiteY70" fmla="*/ 2872433 h 6858000"/>
              <a:gd name="connsiteX71" fmla="*/ 509875 w 5734864"/>
              <a:gd name="connsiteY71" fmla="*/ 2923099 h 6858000"/>
              <a:gd name="connsiteX72" fmla="*/ 509577 w 5734864"/>
              <a:gd name="connsiteY72" fmla="*/ 2923197 h 6858000"/>
              <a:gd name="connsiteX73" fmla="*/ 507597 w 5734864"/>
              <a:gd name="connsiteY73" fmla="*/ 2931868 h 6858000"/>
              <a:gd name="connsiteX74" fmla="*/ 507379 w 5734864"/>
              <a:gd name="connsiteY74" fmla="*/ 2938322 h 6858000"/>
              <a:gd name="connsiteX75" fmla="*/ 504725 w 5734864"/>
              <a:gd name="connsiteY75" fmla="*/ 2954519 h 6858000"/>
              <a:gd name="connsiteX76" fmla="*/ 502018 w 5734864"/>
              <a:gd name="connsiteY76" fmla="*/ 2959643 h 6858000"/>
              <a:gd name="connsiteX77" fmla="*/ 498360 w 5734864"/>
              <a:gd name="connsiteY77" fmla="*/ 2961019 h 6858000"/>
              <a:gd name="connsiteX78" fmla="*/ 498483 w 5734864"/>
              <a:gd name="connsiteY78" fmla="*/ 2962590 h 6858000"/>
              <a:gd name="connsiteX79" fmla="*/ 484403 w 5734864"/>
              <a:gd name="connsiteY79" fmla="*/ 2990538 h 6858000"/>
              <a:gd name="connsiteX80" fmla="*/ 463075 w 5734864"/>
              <a:gd name="connsiteY80" fmla="*/ 3055956 h 6858000"/>
              <a:gd name="connsiteX81" fmla="*/ 455013 w 5734864"/>
              <a:gd name="connsiteY81" fmla="*/ 3094482 h 6858000"/>
              <a:gd name="connsiteX82" fmla="*/ 428391 w 5734864"/>
              <a:gd name="connsiteY82" fmla="*/ 3198850 h 6858000"/>
              <a:gd name="connsiteX83" fmla="*/ 401440 w 5734864"/>
              <a:gd name="connsiteY83" fmla="*/ 3307560 h 6858000"/>
              <a:gd name="connsiteX84" fmla="*/ 386076 w 5734864"/>
              <a:gd name="connsiteY84" fmla="*/ 3373943 h 6858000"/>
              <a:gd name="connsiteX85" fmla="*/ 374726 w 5734864"/>
              <a:gd name="connsiteY85" fmla="*/ 3381364 h 6858000"/>
              <a:gd name="connsiteX86" fmla="*/ 369145 w 5734864"/>
              <a:gd name="connsiteY86" fmla="*/ 3383729 h 6858000"/>
              <a:gd name="connsiteX87" fmla="*/ 364294 w 5734864"/>
              <a:gd name="connsiteY87" fmla="*/ 3414159 h 6858000"/>
              <a:gd name="connsiteX88" fmla="*/ 366450 w 5734864"/>
              <a:gd name="connsiteY88" fmla="*/ 3436925 h 6858000"/>
              <a:gd name="connsiteX89" fmla="*/ 351743 w 5734864"/>
              <a:gd name="connsiteY89" fmla="*/ 3521619 h 6858000"/>
              <a:gd name="connsiteX90" fmla="*/ 345784 w 5734864"/>
              <a:gd name="connsiteY90" fmla="*/ 3603757 h 6858000"/>
              <a:gd name="connsiteX91" fmla="*/ 344198 w 5734864"/>
              <a:gd name="connsiteY91" fmla="*/ 3652424 h 6858000"/>
              <a:gd name="connsiteX92" fmla="*/ 352450 w 5734864"/>
              <a:gd name="connsiteY92" fmla="*/ 3665222 h 6858000"/>
              <a:gd name="connsiteX93" fmla="*/ 342621 w 5734864"/>
              <a:gd name="connsiteY93" fmla="*/ 3700804 h 6858000"/>
              <a:gd name="connsiteX94" fmla="*/ 341514 w 5734864"/>
              <a:gd name="connsiteY94" fmla="*/ 3734774 h 6858000"/>
              <a:gd name="connsiteX95" fmla="*/ 340607 w 5734864"/>
              <a:gd name="connsiteY95" fmla="*/ 3785153 h 6858000"/>
              <a:gd name="connsiteX96" fmla="*/ 340707 w 5734864"/>
              <a:gd name="connsiteY96" fmla="*/ 3788177 h 6858000"/>
              <a:gd name="connsiteX97" fmla="*/ 340361 w 5734864"/>
              <a:gd name="connsiteY97" fmla="*/ 3798803 h 6858000"/>
              <a:gd name="connsiteX98" fmla="*/ 339642 w 5734864"/>
              <a:gd name="connsiteY98" fmla="*/ 3838750 h 6858000"/>
              <a:gd name="connsiteX99" fmla="*/ 360295 w 5734864"/>
              <a:gd name="connsiteY99" fmla="*/ 4015196 h 6858000"/>
              <a:gd name="connsiteX100" fmla="*/ 339043 w 5734864"/>
              <a:gd name="connsiteY100" fmla="*/ 4052778 h 6858000"/>
              <a:gd name="connsiteX101" fmla="*/ 339343 w 5734864"/>
              <a:gd name="connsiteY101" fmla="*/ 4096257 h 6858000"/>
              <a:gd name="connsiteX102" fmla="*/ 340786 w 5734864"/>
              <a:gd name="connsiteY102" fmla="*/ 4321136 h 6858000"/>
              <a:gd name="connsiteX103" fmla="*/ 343158 w 5734864"/>
              <a:gd name="connsiteY103" fmla="*/ 4429174 h 6858000"/>
              <a:gd name="connsiteX104" fmla="*/ 334599 w 5734864"/>
              <a:gd name="connsiteY104" fmla="*/ 4449938 h 6858000"/>
              <a:gd name="connsiteX105" fmla="*/ 332890 w 5734864"/>
              <a:gd name="connsiteY105" fmla="*/ 4453515 h 6858000"/>
              <a:gd name="connsiteX106" fmla="*/ 331105 w 5734864"/>
              <a:gd name="connsiteY106" fmla="*/ 4467941 h 6858000"/>
              <a:gd name="connsiteX107" fmla="*/ 324289 w 5734864"/>
              <a:gd name="connsiteY107" fmla="*/ 4471861 h 6858000"/>
              <a:gd name="connsiteX108" fmla="*/ 317079 w 5734864"/>
              <a:gd name="connsiteY108" fmla="*/ 4493468 h 6858000"/>
              <a:gd name="connsiteX109" fmla="*/ 315557 w 5734864"/>
              <a:gd name="connsiteY109" fmla="*/ 4520067 h 6858000"/>
              <a:gd name="connsiteX110" fmla="*/ 315240 w 5734864"/>
              <a:gd name="connsiteY110" fmla="*/ 4536872 h 6858000"/>
              <a:gd name="connsiteX111" fmla="*/ 316200 w 5734864"/>
              <a:gd name="connsiteY111" fmla="*/ 4538297 h 6858000"/>
              <a:gd name="connsiteX112" fmla="*/ 317507 w 5734864"/>
              <a:gd name="connsiteY112" fmla="*/ 4547582 h 6858000"/>
              <a:gd name="connsiteX113" fmla="*/ 323078 w 5734864"/>
              <a:gd name="connsiteY113" fmla="*/ 4592102 h 6858000"/>
              <a:gd name="connsiteX114" fmla="*/ 328722 w 5734864"/>
              <a:gd name="connsiteY114" fmla="*/ 4667914 h 6858000"/>
              <a:gd name="connsiteX115" fmla="*/ 335597 w 5734864"/>
              <a:gd name="connsiteY115" fmla="*/ 4695035 h 6858000"/>
              <a:gd name="connsiteX116" fmla="*/ 339485 w 5734864"/>
              <a:gd name="connsiteY116" fmla="*/ 4695979 h 6858000"/>
              <a:gd name="connsiteX117" fmla="*/ 341089 w 5734864"/>
              <a:gd name="connsiteY117" fmla="*/ 4704268 h 6858000"/>
              <a:gd name="connsiteX118" fmla="*/ 342177 w 5734864"/>
              <a:gd name="connsiteY118" fmla="*/ 4706060 h 6858000"/>
              <a:gd name="connsiteX119" fmla="*/ 347751 w 5734864"/>
              <a:gd name="connsiteY119" fmla="*/ 4716754 h 6858000"/>
              <a:gd name="connsiteX120" fmla="*/ 344125 w 5734864"/>
              <a:gd name="connsiteY120" fmla="*/ 4764669 h 6858000"/>
              <a:gd name="connsiteX121" fmla="*/ 340188 w 5734864"/>
              <a:gd name="connsiteY121" fmla="*/ 4779386 h 6858000"/>
              <a:gd name="connsiteX122" fmla="*/ 335146 w 5734864"/>
              <a:gd name="connsiteY122" fmla="*/ 4787491 h 6858000"/>
              <a:gd name="connsiteX123" fmla="*/ 319124 w 5734864"/>
              <a:gd name="connsiteY123" fmla="*/ 4843514 h 6858000"/>
              <a:gd name="connsiteX124" fmla="*/ 305956 w 5734864"/>
              <a:gd name="connsiteY124" fmla="*/ 4881505 h 6858000"/>
              <a:gd name="connsiteX125" fmla="*/ 301062 w 5734864"/>
              <a:gd name="connsiteY125" fmla="*/ 4889332 h 6858000"/>
              <a:gd name="connsiteX126" fmla="*/ 302141 w 5734864"/>
              <a:gd name="connsiteY126" fmla="*/ 4899400 h 6858000"/>
              <a:gd name="connsiteX127" fmla="*/ 304424 w 5734864"/>
              <a:gd name="connsiteY127" fmla="*/ 4902664 h 6858000"/>
              <a:gd name="connsiteX128" fmla="*/ 293123 w 5734864"/>
              <a:gd name="connsiteY128" fmla="*/ 4932769 h 6858000"/>
              <a:gd name="connsiteX129" fmla="*/ 292275 w 5734864"/>
              <a:gd name="connsiteY129" fmla="*/ 4936482 h 6858000"/>
              <a:gd name="connsiteX130" fmla="*/ 288304 w 5734864"/>
              <a:gd name="connsiteY130" fmla="*/ 4962325 h 6858000"/>
              <a:gd name="connsiteX131" fmla="*/ 287420 w 5734864"/>
              <a:gd name="connsiteY131" fmla="*/ 5042193 h 6858000"/>
              <a:gd name="connsiteX132" fmla="*/ 287020 w 5734864"/>
              <a:gd name="connsiteY132" fmla="*/ 5065655 h 6858000"/>
              <a:gd name="connsiteX133" fmla="*/ 288488 w 5734864"/>
              <a:gd name="connsiteY133" fmla="*/ 5082216 h 6858000"/>
              <a:gd name="connsiteX134" fmla="*/ 282763 w 5734864"/>
              <a:gd name="connsiteY134" fmla="*/ 5127114 h 6858000"/>
              <a:gd name="connsiteX135" fmla="*/ 269316 w 5734864"/>
              <a:gd name="connsiteY135" fmla="*/ 5202682 h 6858000"/>
              <a:gd name="connsiteX136" fmla="*/ 269174 w 5734864"/>
              <a:gd name="connsiteY136" fmla="*/ 5230835 h 6858000"/>
              <a:gd name="connsiteX137" fmla="*/ 272679 w 5734864"/>
              <a:gd name="connsiteY137" fmla="*/ 5232660 h 6858000"/>
              <a:gd name="connsiteX138" fmla="*/ 272160 w 5734864"/>
              <a:gd name="connsiteY138" fmla="*/ 5241150 h 6858000"/>
              <a:gd name="connsiteX139" fmla="*/ 272760 w 5734864"/>
              <a:gd name="connsiteY139" fmla="*/ 5243156 h 6858000"/>
              <a:gd name="connsiteX140" fmla="*/ 275462 w 5734864"/>
              <a:gd name="connsiteY140" fmla="*/ 5254919 h 6858000"/>
              <a:gd name="connsiteX141" fmla="*/ 262897 w 5734864"/>
              <a:gd name="connsiteY141" fmla="*/ 5286259 h 6858000"/>
              <a:gd name="connsiteX142" fmla="*/ 252761 w 5734864"/>
              <a:gd name="connsiteY142" fmla="*/ 5357801 h 6858000"/>
              <a:gd name="connsiteX143" fmla="*/ 242360 w 5734864"/>
              <a:gd name="connsiteY143" fmla="*/ 5460080 h 6858000"/>
              <a:gd name="connsiteX144" fmla="*/ 229880 w 5734864"/>
              <a:gd name="connsiteY144" fmla="*/ 5539714 h 6858000"/>
              <a:gd name="connsiteX145" fmla="*/ 204283 w 5734864"/>
              <a:gd name="connsiteY145" fmla="*/ 5639080 h 6858000"/>
              <a:gd name="connsiteX146" fmla="*/ 198948 w 5734864"/>
              <a:gd name="connsiteY146" fmla="*/ 5710958 h 6858000"/>
              <a:gd name="connsiteX147" fmla="*/ 192367 w 5734864"/>
              <a:gd name="connsiteY147" fmla="*/ 5719859 h 6858000"/>
              <a:gd name="connsiteX148" fmla="*/ 188035 w 5734864"/>
              <a:gd name="connsiteY148" fmla="*/ 5729935 h 6858000"/>
              <a:gd name="connsiteX149" fmla="*/ 188428 w 5734864"/>
              <a:gd name="connsiteY149" fmla="*/ 5731182 h 6858000"/>
              <a:gd name="connsiteX150" fmla="*/ 181635 w 5734864"/>
              <a:gd name="connsiteY150" fmla="*/ 5753538 h 6858000"/>
              <a:gd name="connsiteX151" fmla="*/ 169744 w 5734864"/>
              <a:gd name="connsiteY151" fmla="*/ 5796307 h 6858000"/>
              <a:gd name="connsiteX152" fmla="*/ 170351 w 5734864"/>
              <a:gd name="connsiteY152" fmla="*/ 5796644 h 6858000"/>
              <a:gd name="connsiteX153" fmla="*/ 171559 w 5734864"/>
              <a:gd name="connsiteY153" fmla="*/ 5803435 h 6858000"/>
              <a:gd name="connsiteX154" fmla="*/ 172284 w 5734864"/>
              <a:gd name="connsiteY154" fmla="*/ 5816391 h 6858000"/>
              <a:gd name="connsiteX155" fmla="*/ 182542 w 5734864"/>
              <a:gd name="connsiteY155" fmla="*/ 5846382 h 6858000"/>
              <a:gd name="connsiteX156" fmla="*/ 175877 w 5734864"/>
              <a:gd name="connsiteY156" fmla="*/ 5871336 h 6858000"/>
              <a:gd name="connsiteX157" fmla="*/ 174910 w 5734864"/>
              <a:gd name="connsiteY157" fmla="*/ 5876376 h 6858000"/>
              <a:gd name="connsiteX158" fmla="*/ 175047 w 5734864"/>
              <a:gd name="connsiteY158" fmla="*/ 5876483 h 6858000"/>
              <a:gd name="connsiteX159" fmla="*/ 174335 w 5734864"/>
              <a:gd name="connsiteY159" fmla="*/ 5881814 h 6858000"/>
              <a:gd name="connsiteX160" fmla="*/ 171273 w 5734864"/>
              <a:gd name="connsiteY160" fmla="*/ 5895339 h 6858000"/>
              <a:gd name="connsiteX161" fmla="*/ 171658 w 5734864"/>
              <a:gd name="connsiteY161" fmla="*/ 5898749 h 6858000"/>
              <a:gd name="connsiteX162" fmla="*/ 174658 w 5734864"/>
              <a:gd name="connsiteY162" fmla="*/ 5919558 h 6858000"/>
              <a:gd name="connsiteX163" fmla="*/ 169099 w 5734864"/>
              <a:gd name="connsiteY163" fmla="*/ 5984417 h 6858000"/>
              <a:gd name="connsiteX164" fmla="*/ 162007 w 5734864"/>
              <a:gd name="connsiteY164" fmla="*/ 6049043 h 6858000"/>
              <a:gd name="connsiteX165" fmla="*/ 156875 w 5734864"/>
              <a:gd name="connsiteY165" fmla="*/ 6114000 h 6858000"/>
              <a:gd name="connsiteX166" fmla="*/ 165441 w 5734864"/>
              <a:gd name="connsiteY166" fmla="*/ 6146938 h 6858000"/>
              <a:gd name="connsiteX167" fmla="*/ 165177 w 5734864"/>
              <a:gd name="connsiteY167" fmla="*/ 6150658 h 6858000"/>
              <a:gd name="connsiteX168" fmla="*/ 161772 w 5734864"/>
              <a:gd name="connsiteY168" fmla="*/ 6160011 h 6858000"/>
              <a:gd name="connsiteX169" fmla="*/ 160051 w 5734864"/>
              <a:gd name="connsiteY169" fmla="*/ 6163393 h 6858000"/>
              <a:gd name="connsiteX170" fmla="*/ 158473 w 5734864"/>
              <a:gd name="connsiteY170" fmla="*/ 6168628 h 6858000"/>
              <a:gd name="connsiteX171" fmla="*/ 158573 w 5734864"/>
              <a:gd name="connsiteY171" fmla="*/ 6168799 h 6858000"/>
              <a:gd name="connsiteX172" fmla="*/ 146463 w 5734864"/>
              <a:gd name="connsiteY172" fmla="*/ 6196671 h 6858000"/>
              <a:gd name="connsiteX173" fmla="*/ 150209 w 5734864"/>
              <a:gd name="connsiteY173" fmla="*/ 6232365 h 6858000"/>
              <a:gd name="connsiteX174" fmla="*/ 148544 w 5734864"/>
              <a:gd name="connsiteY174" fmla="*/ 6246162 h 6858000"/>
              <a:gd name="connsiteX175" fmla="*/ 148403 w 5734864"/>
              <a:gd name="connsiteY175" fmla="*/ 6253754 h 6858000"/>
              <a:gd name="connsiteX176" fmla="*/ 138880 w 5734864"/>
              <a:gd name="connsiteY176" fmla="*/ 6276449 h 6858000"/>
              <a:gd name="connsiteX177" fmla="*/ 138683 w 5734864"/>
              <a:gd name="connsiteY177" fmla="*/ 6279721 h 6858000"/>
              <a:gd name="connsiteX178" fmla="*/ 130721 w 5734864"/>
              <a:gd name="connsiteY178" fmla="*/ 6293675 h 6858000"/>
              <a:gd name="connsiteX179" fmla="*/ 120717 w 5734864"/>
              <a:gd name="connsiteY179" fmla="*/ 6313967 h 6858000"/>
              <a:gd name="connsiteX180" fmla="*/ 120841 w 5734864"/>
              <a:gd name="connsiteY180" fmla="*/ 6315437 h 6858000"/>
              <a:gd name="connsiteX181" fmla="*/ 115208 w 5734864"/>
              <a:gd name="connsiteY181" fmla="*/ 6324024 h 6858000"/>
              <a:gd name="connsiteX182" fmla="*/ 101217 w 5734864"/>
              <a:gd name="connsiteY182" fmla="*/ 6365923 h 6858000"/>
              <a:gd name="connsiteX183" fmla="*/ 74946 w 5734864"/>
              <a:gd name="connsiteY183" fmla="*/ 6556817 h 6858000"/>
              <a:gd name="connsiteX184" fmla="*/ 16001 w 5734864"/>
              <a:gd name="connsiteY184" fmla="*/ 6808678 h 6858000"/>
              <a:gd name="connsiteX185" fmla="*/ 0 w 5734864"/>
              <a:gd name="connsiteY185" fmla="*/ 6858000 h 6858000"/>
              <a:gd name="connsiteX186" fmla="*/ 5734864 w 5734864"/>
              <a:gd name="connsiteY186" fmla="*/ 6858000 h 6858000"/>
              <a:gd name="connsiteX187" fmla="*/ 5734864 w 5734864"/>
              <a:gd name="connsiteY18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</a:cxnLst>
            <a:rect l="l" t="t" r="r" b="b"/>
            <a:pathLst>
              <a:path w="5734864" h="6858000">
                <a:moveTo>
                  <a:pt x="5734864" y="0"/>
                </a:moveTo>
                <a:lnTo>
                  <a:pt x="771611" y="0"/>
                </a:lnTo>
                <a:cubicBezTo>
                  <a:pt x="771634" y="16369"/>
                  <a:pt x="771656" y="32739"/>
                  <a:pt x="771679" y="49108"/>
                </a:cubicBezTo>
                <a:cubicBezTo>
                  <a:pt x="775201" y="55622"/>
                  <a:pt x="788724" y="196721"/>
                  <a:pt x="794248" y="200968"/>
                </a:cubicBezTo>
                <a:lnTo>
                  <a:pt x="801749" y="414071"/>
                </a:lnTo>
                <a:cubicBezTo>
                  <a:pt x="807329" y="440933"/>
                  <a:pt x="835107" y="598697"/>
                  <a:pt x="818548" y="585467"/>
                </a:cubicBezTo>
                <a:cubicBezTo>
                  <a:pt x="856197" y="664140"/>
                  <a:pt x="837895" y="708473"/>
                  <a:pt x="857476" y="800623"/>
                </a:cubicBezTo>
                <a:cubicBezTo>
                  <a:pt x="822401" y="857344"/>
                  <a:pt x="855723" y="824571"/>
                  <a:pt x="851083" y="878903"/>
                </a:cubicBezTo>
                <a:cubicBezTo>
                  <a:pt x="884811" y="859448"/>
                  <a:pt x="834648" y="946397"/>
                  <a:pt x="873564" y="943826"/>
                </a:cubicBezTo>
                <a:cubicBezTo>
                  <a:pt x="871487" y="953795"/>
                  <a:pt x="868248" y="963533"/>
                  <a:pt x="864705" y="973328"/>
                </a:cubicBezTo>
                <a:lnTo>
                  <a:pt x="862869" y="978457"/>
                </a:lnTo>
                <a:lnTo>
                  <a:pt x="862233" y="998041"/>
                </a:lnTo>
                <a:lnTo>
                  <a:pt x="853665" y="1004750"/>
                </a:lnTo>
                <a:lnTo>
                  <a:pt x="847865" y="1070795"/>
                </a:lnTo>
                <a:cubicBezTo>
                  <a:pt x="870234" y="1110486"/>
                  <a:pt x="833172" y="1190441"/>
                  <a:pt x="862786" y="1238994"/>
                </a:cubicBezTo>
                <a:cubicBezTo>
                  <a:pt x="864699" y="1290599"/>
                  <a:pt x="860615" y="1347716"/>
                  <a:pt x="859345" y="1380427"/>
                </a:cubicBezTo>
                <a:cubicBezTo>
                  <a:pt x="845703" y="1396391"/>
                  <a:pt x="873184" y="1435525"/>
                  <a:pt x="855172" y="1435262"/>
                </a:cubicBezTo>
                <a:lnTo>
                  <a:pt x="860494" y="1453861"/>
                </a:lnTo>
                <a:lnTo>
                  <a:pt x="853731" y="1467047"/>
                </a:lnTo>
                <a:cubicBezTo>
                  <a:pt x="846549" y="1480528"/>
                  <a:pt x="841728" y="1491093"/>
                  <a:pt x="845847" y="1502307"/>
                </a:cubicBezTo>
                <a:lnTo>
                  <a:pt x="817613" y="1565166"/>
                </a:lnTo>
                <a:cubicBezTo>
                  <a:pt x="805468" y="1557258"/>
                  <a:pt x="816534" y="1596564"/>
                  <a:pt x="804223" y="1601941"/>
                </a:cubicBezTo>
                <a:cubicBezTo>
                  <a:pt x="794287" y="1604654"/>
                  <a:pt x="795328" y="1617209"/>
                  <a:pt x="791773" y="1627005"/>
                </a:cubicBezTo>
                <a:cubicBezTo>
                  <a:pt x="781684" y="1634393"/>
                  <a:pt x="772978" y="1683187"/>
                  <a:pt x="774645" y="1699922"/>
                </a:cubicBezTo>
                <a:cubicBezTo>
                  <a:pt x="785341" y="1746767"/>
                  <a:pt x="744845" y="1787099"/>
                  <a:pt x="752343" y="1824604"/>
                </a:cubicBezTo>
                <a:cubicBezTo>
                  <a:pt x="751502" y="1834578"/>
                  <a:pt x="749297" y="1842929"/>
                  <a:pt x="746254" y="1850222"/>
                </a:cubicBezTo>
                <a:lnTo>
                  <a:pt x="728600" y="1869603"/>
                </a:lnTo>
                <a:lnTo>
                  <a:pt x="724396" y="1883104"/>
                </a:lnTo>
                <a:lnTo>
                  <a:pt x="722165" y="1885924"/>
                </a:lnTo>
                <a:lnTo>
                  <a:pt x="721338" y="1887123"/>
                </a:lnTo>
                <a:lnTo>
                  <a:pt x="714840" y="1902274"/>
                </a:lnTo>
                <a:lnTo>
                  <a:pt x="722847" y="1929891"/>
                </a:lnTo>
                <a:lnTo>
                  <a:pt x="714660" y="1982709"/>
                </a:lnTo>
                <a:cubicBezTo>
                  <a:pt x="727725" y="2006201"/>
                  <a:pt x="714739" y="1997091"/>
                  <a:pt x="710759" y="2013010"/>
                </a:cubicBezTo>
                <a:cubicBezTo>
                  <a:pt x="707970" y="2027531"/>
                  <a:pt x="700788" y="2054714"/>
                  <a:pt x="697927" y="2069833"/>
                </a:cubicBezTo>
                <a:cubicBezTo>
                  <a:pt x="685211" y="2080229"/>
                  <a:pt x="698762" y="2088241"/>
                  <a:pt x="693594" y="2103731"/>
                </a:cubicBezTo>
                <a:cubicBezTo>
                  <a:pt x="688481" y="2110649"/>
                  <a:pt x="687183" y="2115973"/>
                  <a:pt x="691109" y="2124027"/>
                </a:cubicBezTo>
                <a:cubicBezTo>
                  <a:pt x="666413" y="2155740"/>
                  <a:pt x="688031" y="2144874"/>
                  <a:pt x="676593" y="2176182"/>
                </a:cubicBezTo>
                <a:cubicBezTo>
                  <a:pt x="665190" y="2202944"/>
                  <a:pt x="656416" y="2233857"/>
                  <a:pt x="633227" y="2258036"/>
                </a:cubicBezTo>
                <a:cubicBezTo>
                  <a:pt x="626930" y="2262191"/>
                  <a:pt x="623498" y="2274069"/>
                  <a:pt x="625564" y="2284567"/>
                </a:cubicBezTo>
                <a:cubicBezTo>
                  <a:pt x="625918" y="2286374"/>
                  <a:pt x="626427" y="2288071"/>
                  <a:pt x="627074" y="2289605"/>
                </a:cubicBezTo>
                <a:cubicBezTo>
                  <a:pt x="619029" y="2296628"/>
                  <a:pt x="616453" y="2303188"/>
                  <a:pt x="614574" y="2308717"/>
                </a:cubicBezTo>
                <a:lnTo>
                  <a:pt x="606890" y="2320662"/>
                </a:lnTo>
                <a:lnTo>
                  <a:pt x="605558" y="2327897"/>
                </a:lnTo>
                <a:lnTo>
                  <a:pt x="602202" y="2357749"/>
                </a:lnTo>
                <a:lnTo>
                  <a:pt x="600213" y="2364905"/>
                </a:lnTo>
                <a:lnTo>
                  <a:pt x="597160" y="2388351"/>
                </a:lnTo>
                <a:lnTo>
                  <a:pt x="597982" y="2402296"/>
                </a:lnTo>
                <a:lnTo>
                  <a:pt x="593150" y="2420015"/>
                </a:lnTo>
                <a:cubicBezTo>
                  <a:pt x="593044" y="2420926"/>
                  <a:pt x="592939" y="2421838"/>
                  <a:pt x="592833" y="2422749"/>
                </a:cubicBezTo>
                <a:lnTo>
                  <a:pt x="594479" y="2426002"/>
                </a:lnTo>
                <a:cubicBezTo>
                  <a:pt x="594168" y="2427683"/>
                  <a:pt x="593118" y="2429721"/>
                  <a:pt x="591963" y="2431950"/>
                </a:cubicBezTo>
                <a:cubicBezTo>
                  <a:pt x="591823" y="2432599"/>
                  <a:pt x="591684" y="2433248"/>
                  <a:pt x="591544" y="2433897"/>
                </a:cubicBezTo>
                <a:lnTo>
                  <a:pt x="589519" y="2451398"/>
                </a:lnTo>
                <a:cubicBezTo>
                  <a:pt x="589692" y="2452777"/>
                  <a:pt x="589864" y="2454157"/>
                  <a:pt x="590037" y="2455536"/>
                </a:cubicBezTo>
                <a:lnTo>
                  <a:pt x="588179" y="2462981"/>
                </a:lnTo>
                <a:lnTo>
                  <a:pt x="583434" y="2503991"/>
                </a:lnTo>
                <a:cubicBezTo>
                  <a:pt x="576530" y="2566058"/>
                  <a:pt x="570433" y="2625224"/>
                  <a:pt x="567942" y="2652936"/>
                </a:cubicBezTo>
                <a:cubicBezTo>
                  <a:pt x="570864" y="2658290"/>
                  <a:pt x="572739" y="2664095"/>
                  <a:pt x="573869" y="2670188"/>
                </a:cubicBezTo>
                <a:lnTo>
                  <a:pt x="575243" y="2688114"/>
                </a:lnTo>
                <a:lnTo>
                  <a:pt x="573824" y="2689856"/>
                </a:lnTo>
                <a:cubicBezTo>
                  <a:pt x="569972" y="2698471"/>
                  <a:pt x="569572" y="2704494"/>
                  <a:pt x="570699" y="2709353"/>
                </a:cubicBezTo>
                <a:lnTo>
                  <a:pt x="573192" y="2714527"/>
                </a:lnTo>
                <a:cubicBezTo>
                  <a:pt x="572809" y="2719080"/>
                  <a:pt x="572427" y="2723634"/>
                  <a:pt x="572044" y="2728187"/>
                </a:cubicBezTo>
                <a:cubicBezTo>
                  <a:pt x="572184" y="2737412"/>
                  <a:pt x="572325" y="2746638"/>
                  <a:pt x="572465" y="2755863"/>
                </a:cubicBezTo>
                <a:lnTo>
                  <a:pt x="570028" y="2760324"/>
                </a:lnTo>
                <a:lnTo>
                  <a:pt x="566748" y="2800948"/>
                </a:lnTo>
                <a:lnTo>
                  <a:pt x="565509" y="2801167"/>
                </a:lnTo>
                <a:cubicBezTo>
                  <a:pt x="562655" y="2802587"/>
                  <a:pt x="560408" y="2805381"/>
                  <a:pt x="559367" y="2811129"/>
                </a:cubicBezTo>
                <a:cubicBezTo>
                  <a:pt x="543471" y="2797318"/>
                  <a:pt x="552020" y="2812773"/>
                  <a:pt x="550354" y="2830949"/>
                </a:cubicBezTo>
                <a:cubicBezTo>
                  <a:pt x="525292" y="2813553"/>
                  <a:pt x="531129" y="2868192"/>
                  <a:pt x="514795" y="2872433"/>
                </a:cubicBezTo>
                <a:lnTo>
                  <a:pt x="509875" y="2923099"/>
                </a:lnTo>
                <a:lnTo>
                  <a:pt x="509577" y="2923197"/>
                </a:lnTo>
                <a:cubicBezTo>
                  <a:pt x="508704" y="2924865"/>
                  <a:pt x="508038" y="2927556"/>
                  <a:pt x="507597" y="2931868"/>
                </a:cubicBezTo>
                <a:cubicBezTo>
                  <a:pt x="507524" y="2934019"/>
                  <a:pt x="507452" y="2936171"/>
                  <a:pt x="507379" y="2938322"/>
                </a:cubicBezTo>
                <a:lnTo>
                  <a:pt x="504725" y="2954519"/>
                </a:lnTo>
                <a:lnTo>
                  <a:pt x="502018" y="2959643"/>
                </a:lnTo>
                <a:lnTo>
                  <a:pt x="498360" y="2961019"/>
                </a:lnTo>
                <a:lnTo>
                  <a:pt x="498483" y="2962590"/>
                </a:lnTo>
                <a:cubicBezTo>
                  <a:pt x="502388" y="2975027"/>
                  <a:pt x="510202" y="2980016"/>
                  <a:pt x="484403" y="2990538"/>
                </a:cubicBezTo>
                <a:cubicBezTo>
                  <a:pt x="489425" y="3018352"/>
                  <a:pt x="474337" y="3021029"/>
                  <a:pt x="463075" y="3055956"/>
                </a:cubicBezTo>
                <a:cubicBezTo>
                  <a:pt x="469487" y="3072485"/>
                  <a:pt x="464165" y="3083955"/>
                  <a:pt x="455013" y="3094482"/>
                </a:cubicBezTo>
                <a:cubicBezTo>
                  <a:pt x="453131" y="3130054"/>
                  <a:pt x="437643" y="3160106"/>
                  <a:pt x="428391" y="3198850"/>
                </a:cubicBezTo>
                <a:lnTo>
                  <a:pt x="401440" y="3307560"/>
                </a:lnTo>
                <a:lnTo>
                  <a:pt x="386076" y="3373943"/>
                </a:lnTo>
                <a:cubicBezTo>
                  <a:pt x="386236" y="3376061"/>
                  <a:pt x="380537" y="3378856"/>
                  <a:pt x="374726" y="3381364"/>
                </a:cubicBezTo>
                <a:lnTo>
                  <a:pt x="369145" y="3383729"/>
                </a:lnTo>
                <a:lnTo>
                  <a:pt x="364294" y="3414159"/>
                </a:lnTo>
                <a:lnTo>
                  <a:pt x="366450" y="3436925"/>
                </a:lnTo>
                <a:lnTo>
                  <a:pt x="351743" y="3521619"/>
                </a:lnTo>
                <a:lnTo>
                  <a:pt x="345784" y="3603757"/>
                </a:lnTo>
                <a:cubicBezTo>
                  <a:pt x="345255" y="3619979"/>
                  <a:pt x="344727" y="3636202"/>
                  <a:pt x="344198" y="3652424"/>
                </a:cubicBezTo>
                <a:lnTo>
                  <a:pt x="352450" y="3665222"/>
                </a:lnTo>
                <a:lnTo>
                  <a:pt x="342621" y="3700804"/>
                </a:lnTo>
                <a:lnTo>
                  <a:pt x="341514" y="3734774"/>
                </a:lnTo>
                <a:cubicBezTo>
                  <a:pt x="341212" y="3751567"/>
                  <a:pt x="340909" y="3768360"/>
                  <a:pt x="340607" y="3785153"/>
                </a:cubicBezTo>
                <a:cubicBezTo>
                  <a:pt x="340640" y="3786161"/>
                  <a:pt x="340674" y="3787169"/>
                  <a:pt x="340707" y="3788177"/>
                </a:cubicBezTo>
                <a:cubicBezTo>
                  <a:pt x="340592" y="3791719"/>
                  <a:pt x="340476" y="3795261"/>
                  <a:pt x="340361" y="3798803"/>
                </a:cubicBezTo>
                <a:cubicBezTo>
                  <a:pt x="340121" y="3812119"/>
                  <a:pt x="339882" y="3825434"/>
                  <a:pt x="339642" y="3838750"/>
                </a:cubicBezTo>
                <a:cubicBezTo>
                  <a:pt x="337363" y="3949044"/>
                  <a:pt x="361794" y="3960437"/>
                  <a:pt x="360295" y="4015196"/>
                </a:cubicBezTo>
                <a:lnTo>
                  <a:pt x="339043" y="4052778"/>
                </a:lnTo>
                <a:lnTo>
                  <a:pt x="339343" y="4096257"/>
                </a:lnTo>
                <a:cubicBezTo>
                  <a:pt x="362058" y="4159145"/>
                  <a:pt x="332404" y="4250479"/>
                  <a:pt x="340786" y="4321136"/>
                </a:cubicBezTo>
                <a:cubicBezTo>
                  <a:pt x="341421" y="4376624"/>
                  <a:pt x="344189" y="4407708"/>
                  <a:pt x="343158" y="4429174"/>
                </a:cubicBezTo>
                <a:cubicBezTo>
                  <a:pt x="340948" y="4436304"/>
                  <a:pt x="337887" y="4443121"/>
                  <a:pt x="334599" y="4449938"/>
                </a:cubicBezTo>
                <a:lnTo>
                  <a:pt x="332890" y="4453515"/>
                </a:lnTo>
                <a:lnTo>
                  <a:pt x="331105" y="4467941"/>
                </a:lnTo>
                <a:lnTo>
                  <a:pt x="324289" y="4471861"/>
                </a:lnTo>
                <a:lnTo>
                  <a:pt x="317079" y="4493468"/>
                </a:lnTo>
                <a:cubicBezTo>
                  <a:pt x="315353" y="4501584"/>
                  <a:pt x="314639" y="4510343"/>
                  <a:pt x="315557" y="4520067"/>
                </a:cubicBezTo>
                <a:cubicBezTo>
                  <a:pt x="315451" y="4525669"/>
                  <a:pt x="315346" y="4531270"/>
                  <a:pt x="315240" y="4536872"/>
                </a:cubicBezTo>
                <a:lnTo>
                  <a:pt x="316200" y="4538297"/>
                </a:lnTo>
                <a:cubicBezTo>
                  <a:pt x="316738" y="4541182"/>
                  <a:pt x="316785" y="4544563"/>
                  <a:pt x="317507" y="4547582"/>
                </a:cubicBezTo>
                <a:cubicBezTo>
                  <a:pt x="322716" y="4552468"/>
                  <a:pt x="324912" y="4582137"/>
                  <a:pt x="323078" y="4592102"/>
                </a:cubicBezTo>
                <a:cubicBezTo>
                  <a:pt x="314597" y="4619728"/>
                  <a:pt x="334923" y="4645745"/>
                  <a:pt x="328722" y="4667914"/>
                </a:cubicBezTo>
                <a:cubicBezTo>
                  <a:pt x="330810" y="4685069"/>
                  <a:pt x="333803" y="4690356"/>
                  <a:pt x="335597" y="4695035"/>
                </a:cubicBezTo>
                <a:lnTo>
                  <a:pt x="339485" y="4695979"/>
                </a:lnTo>
                <a:lnTo>
                  <a:pt x="341089" y="4704268"/>
                </a:lnTo>
                <a:lnTo>
                  <a:pt x="342177" y="4706060"/>
                </a:lnTo>
                <a:cubicBezTo>
                  <a:pt x="344268" y="4709474"/>
                  <a:pt x="346234" y="4712931"/>
                  <a:pt x="347751" y="4716754"/>
                </a:cubicBezTo>
                <a:lnTo>
                  <a:pt x="344125" y="4764669"/>
                </a:lnTo>
                <a:lnTo>
                  <a:pt x="340188" y="4779386"/>
                </a:lnTo>
                <a:lnTo>
                  <a:pt x="335146" y="4787491"/>
                </a:lnTo>
                <a:lnTo>
                  <a:pt x="319124" y="4843514"/>
                </a:lnTo>
                <a:lnTo>
                  <a:pt x="305956" y="4881505"/>
                </a:lnTo>
                <a:lnTo>
                  <a:pt x="301062" y="4889332"/>
                </a:lnTo>
                <a:lnTo>
                  <a:pt x="302141" y="4899400"/>
                </a:lnTo>
                <a:cubicBezTo>
                  <a:pt x="302767" y="4900706"/>
                  <a:pt x="303536" y="4901803"/>
                  <a:pt x="304424" y="4902664"/>
                </a:cubicBezTo>
                <a:lnTo>
                  <a:pt x="293123" y="4932769"/>
                </a:lnTo>
                <a:lnTo>
                  <a:pt x="292275" y="4936482"/>
                </a:lnTo>
                <a:lnTo>
                  <a:pt x="288304" y="4962325"/>
                </a:lnTo>
                <a:cubicBezTo>
                  <a:pt x="288009" y="4988948"/>
                  <a:pt x="287715" y="5015570"/>
                  <a:pt x="287420" y="5042193"/>
                </a:cubicBezTo>
                <a:cubicBezTo>
                  <a:pt x="295373" y="5039737"/>
                  <a:pt x="281659" y="5060438"/>
                  <a:pt x="287020" y="5065655"/>
                </a:cubicBezTo>
                <a:cubicBezTo>
                  <a:pt x="291675" y="5068928"/>
                  <a:pt x="288601" y="5075970"/>
                  <a:pt x="288488" y="5082216"/>
                </a:cubicBezTo>
                <a:cubicBezTo>
                  <a:pt x="292282" y="5088207"/>
                  <a:pt x="287008" y="5117775"/>
                  <a:pt x="282763" y="5127114"/>
                </a:cubicBezTo>
                <a:cubicBezTo>
                  <a:pt x="267723" y="5152218"/>
                  <a:pt x="280799" y="5182399"/>
                  <a:pt x="269316" y="5202682"/>
                </a:cubicBezTo>
                <a:cubicBezTo>
                  <a:pt x="267050" y="5219969"/>
                  <a:pt x="268614" y="5225841"/>
                  <a:pt x="269174" y="5230835"/>
                </a:cubicBezTo>
                <a:lnTo>
                  <a:pt x="272679" y="5232660"/>
                </a:lnTo>
                <a:lnTo>
                  <a:pt x="272160" y="5241150"/>
                </a:lnTo>
                <a:lnTo>
                  <a:pt x="272760" y="5243156"/>
                </a:lnTo>
                <a:cubicBezTo>
                  <a:pt x="273922" y="5246984"/>
                  <a:pt x="274952" y="5250824"/>
                  <a:pt x="275462" y="5254919"/>
                </a:cubicBezTo>
                <a:cubicBezTo>
                  <a:pt x="258407" y="5258851"/>
                  <a:pt x="276976" y="5290392"/>
                  <a:pt x="262897" y="5286259"/>
                </a:cubicBezTo>
                <a:cubicBezTo>
                  <a:pt x="262724" y="5309439"/>
                  <a:pt x="239612" y="5337531"/>
                  <a:pt x="252761" y="5357801"/>
                </a:cubicBezTo>
                <a:cubicBezTo>
                  <a:pt x="248775" y="5392256"/>
                  <a:pt x="247799" y="5423412"/>
                  <a:pt x="242360" y="5460080"/>
                </a:cubicBezTo>
                <a:cubicBezTo>
                  <a:pt x="232632" y="5488478"/>
                  <a:pt x="242025" y="5519143"/>
                  <a:pt x="229880" y="5539714"/>
                </a:cubicBezTo>
                <a:cubicBezTo>
                  <a:pt x="230558" y="5572454"/>
                  <a:pt x="222150" y="5613340"/>
                  <a:pt x="204283" y="5639080"/>
                </a:cubicBezTo>
                <a:cubicBezTo>
                  <a:pt x="201596" y="5674226"/>
                  <a:pt x="191051" y="5680198"/>
                  <a:pt x="198948" y="5710958"/>
                </a:cubicBezTo>
                <a:cubicBezTo>
                  <a:pt x="196338" y="5713534"/>
                  <a:pt x="194185" y="5716550"/>
                  <a:pt x="192367" y="5719859"/>
                </a:cubicBezTo>
                <a:lnTo>
                  <a:pt x="188035" y="5729935"/>
                </a:lnTo>
                <a:lnTo>
                  <a:pt x="188428" y="5731182"/>
                </a:lnTo>
                <a:lnTo>
                  <a:pt x="181635" y="5753538"/>
                </a:lnTo>
                <a:lnTo>
                  <a:pt x="169744" y="5796307"/>
                </a:lnTo>
                <a:lnTo>
                  <a:pt x="170351" y="5796644"/>
                </a:lnTo>
                <a:cubicBezTo>
                  <a:pt x="171558" y="5797954"/>
                  <a:pt x="172173" y="5799948"/>
                  <a:pt x="171559" y="5803435"/>
                </a:cubicBezTo>
                <a:cubicBezTo>
                  <a:pt x="182664" y="5798231"/>
                  <a:pt x="175075" y="5805646"/>
                  <a:pt x="172284" y="5816391"/>
                </a:cubicBezTo>
                <a:cubicBezTo>
                  <a:pt x="188911" y="5810703"/>
                  <a:pt x="174844" y="5841128"/>
                  <a:pt x="182542" y="5846382"/>
                </a:cubicBezTo>
                <a:cubicBezTo>
                  <a:pt x="180118" y="5854404"/>
                  <a:pt x="177856" y="5862781"/>
                  <a:pt x="175877" y="5871336"/>
                </a:cubicBezTo>
                <a:lnTo>
                  <a:pt x="174910" y="5876376"/>
                </a:lnTo>
                <a:lnTo>
                  <a:pt x="175047" y="5876483"/>
                </a:lnTo>
                <a:cubicBezTo>
                  <a:pt x="175167" y="5877594"/>
                  <a:pt x="174973" y="5879257"/>
                  <a:pt x="174335" y="5881814"/>
                </a:cubicBezTo>
                <a:lnTo>
                  <a:pt x="171273" y="5895339"/>
                </a:lnTo>
                <a:cubicBezTo>
                  <a:pt x="171401" y="5896476"/>
                  <a:pt x="171530" y="5897612"/>
                  <a:pt x="171658" y="5898749"/>
                </a:cubicBezTo>
                <a:lnTo>
                  <a:pt x="174658" y="5919558"/>
                </a:lnTo>
                <a:cubicBezTo>
                  <a:pt x="173958" y="5933601"/>
                  <a:pt x="171208" y="5962838"/>
                  <a:pt x="169099" y="5984417"/>
                </a:cubicBezTo>
                <a:cubicBezTo>
                  <a:pt x="162916" y="6005205"/>
                  <a:pt x="164971" y="6025162"/>
                  <a:pt x="162007" y="6049043"/>
                </a:cubicBezTo>
                <a:cubicBezTo>
                  <a:pt x="150795" y="6073830"/>
                  <a:pt x="160091" y="6088483"/>
                  <a:pt x="156875" y="6114000"/>
                </a:cubicBezTo>
                <a:cubicBezTo>
                  <a:pt x="141597" y="6134477"/>
                  <a:pt x="163381" y="6133378"/>
                  <a:pt x="165441" y="6146938"/>
                </a:cubicBezTo>
                <a:lnTo>
                  <a:pt x="165177" y="6150658"/>
                </a:lnTo>
                <a:lnTo>
                  <a:pt x="161772" y="6160011"/>
                </a:lnTo>
                <a:lnTo>
                  <a:pt x="160051" y="6163393"/>
                </a:lnTo>
                <a:cubicBezTo>
                  <a:pt x="159032" y="6165775"/>
                  <a:pt x="158564" y="6167421"/>
                  <a:pt x="158473" y="6168628"/>
                </a:cubicBezTo>
                <a:cubicBezTo>
                  <a:pt x="158506" y="6168685"/>
                  <a:pt x="158540" y="6168742"/>
                  <a:pt x="158573" y="6168799"/>
                </a:cubicBezTo>
                <a:lnTo>
                  <a:pt x="146463" y="6196671"/>
                </a:lnTo>
                <a:cubicBezTo>
                  <a:pt x="152348" y="6205503"/>
                  <a:pt x="134460" y="6231012"/>
                  <a:pt x="150209" y="6232365"/>
                </a:cubicBezTo>
                <a:cubicBezTo>
                  <a:pt x="145821" y="6242321"/>
                  <a:pt x="137774" y="6246719"/>
                  <a:pt x="148544" y="6246162"/>
                </a:cubicBezTo>
                <a:cubicBezTo>
                  <a:pt x="147378" y="6249522"/>
                  <a:pt x="147566" y="6251866"/>
                  <a:pt x="148403" y="6253754"/>
                </a:cubicBezTo>
                <a:lnTo>
                  <a:pt x="138880" y="6276449"/>
                </a:lnTo>
                <a:cubicBezTo>
                  <a:pt x="138814" y="6277540"/>
                  <a:pt x="138749" y="6278630"/>
                  <a:pt x="138683" y="6279721"/>
                </a:cubicBezTo>
                <a:lnTo>
                  <a:pt x="130721" y="6293675"/>
                </a:lnTo>
                <a:lnTo>
                  <a:pt x="120717" y="6313967"/>
                </a:lnTo>
                <a:cubicBezTo>
                  <a:pt x="120758" y="6314457"/>
                  <a:pt x="120800" y="6314947"/>
                  <a:pt x="120841" y="6315437"/>
                </a:cubicBezTo>
                <a:lnTo>
                  <a:pt x="115208" y="6324024"/>
                </a:lnTo>
                <a:cubicBezTo>
                  <a:pt x="113007" y="6326672"/>
                  <a:pt x="103991" y="6364381"/>
                  <a:pt x="101217" y="6365923"/>
                </a:cubicBezTo>
                <a:lnTo>
                  <a:pt x="74946" y="6556817"/>
                </a:lnTo>
                <a:cubicBezTo>
                  <a:pt x="55357" y="6665926"/>
                  <a:pt x="35695" y="6744075"/>
                  <a:pt x="16001" y="6808678"/>
                </a:cubicBezTo>
                <a:lnTo>
                  <a:pt x="0" y="6858000"/>
                </a:lnTo>
                <a:lnTo>
                  <a:pt x="5734864" y="6858000"/>
                </a:lnTo>
                <a:lnTo>
                  <a:pt x="5734864" y="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Tekstiruutu 9">
            <a:extLst>
              <a:ext uri="{FF2B5EF4-FFF2-40B4-BE49-F238E27FC236}">
                <a16:creationId xmlns:a16="http://schemas.microsoft.com/office/drawing/2014/main" id="{0AA9639B-B7E2-44C5-9CA4-50187E024E5F}"/>
              </a:ext>
            </a:extLst>
          </p:cNvPr>
          <p:cNvSpPr txBox="1"/>
          <p:nvPr/>
        </p:nvSpPr>
        <p:spPr>
          <a:xfrm>
            <a:off x="771352" y="1522820"/>
            <a:ext cx="3850843" cy="311766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Hedelmöityksessä</a:t>
            </a:r>
            <a:r>
              <a:rPr lang="en-US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 </a:t>
            </a:r>
            <a:r>
              <a:rPr lang="en-US" sz="36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kahden</a:t>
            </a:r>
            <a:r>
              <a:rPr lang="en-US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 </a:t>
            </a:r>
            <a:r>
              <a:rPr lang="en-US" sz="36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haploidisen</a:t>
            </a:r>
            <a:r>
              <a:rPr lang="en-US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 </a:t>
            </a:r>
            <a:r>
              <a:rPr lang="en-US" sz="36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sukusolun</a:t>
            </a:r>
            <a:r>
              <a:rPr lang="en-US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 </a:t>
            </a:r>
            <a:r>
              <a:rPr lang="en-US" sz="36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tumat</a:t>
            </a:r>
            <a:r>
              <a:rPr lang="en-US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 </a:t>
            </a:r>
            <a:r>
              <a:rPr lang="en-US" sz="36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yhtyvät</a:t>
            </a:r>
            <a:endParaRPr lang="en-US" sz="3600" kern="1200" dirty="0">
              <a:solidFill>
                <a:schemeClr val="tx1"/>
              </a:solidFill>
              <a:latin typeface="Myriad Pro Semibold"/>
              <a:ea typeface="+mj-ea"/>
              <a:cs typeface="+mj-cs"/>
            </a:endParaRPr>
          </a:p>
        </p:txBody>
      </p:sp>
      <p:pic>
        <p:nvPicPr>
          <p:cNvPr id="7" name="Kuva 6">
            <a:extLst>
              <a:ext uri="{FF2B5EF4-FFF2-40B4-BE49-F238E27FC236}">
                <a16:creationId xmlns:a16="http://schemas.microsoft.com/office/drawing/2014/main" id="{88682EDC-89D4-4A9C-A2A6-BDAD52E6FF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/>
        </p:blipFill>
        <p:spPr>
          <a:xfrm>
            <a:off x="7254468" y="578738"/>
            <a:ext cx="2991215" cy="5670549"/>
          </a:xfrm>
          <a:prstGeom prst="rect">
            <a:avLst/>
          </a:prstGeom>
        </p:spPr>
      </p:pic>
      <p:sp>
        <p:nvSpPr>
          <p:cNvPr id="3" name="Tekstiruutu 2">
            <a:extLst>
              <a:ext uri="{FF2B5EF4-FFF2-40B4-BE49-F238E27FC236}">
                <a16:creationId xmlns:a16="http://schemas.microsoft.com/office/drawing/2014/main" id="{F11D86D1-2E03-42E9-A372-AD660C7DB75E}"/>
              </a:ext>
            </a:extLst>
          </p:cNvPr>
          <p:cNvSpPr txBox="1"/>
          <p:nvPr/>
        </p:nvSpPr>
        <p:spPr>
          <a:xfrm>
            <a:off x="1322754" y="1522820"/>
            <a:ext cx="2748041" cy="36019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DFAA2138-5CF7-4889-ACC3-41F434DA99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50165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i 5" hidden="1">
            <a:extLst>
              <a:ext uri="{FF2B5EF4-FFF2-40B4-BE49-F238E27FC236}">
                <a16:creationId xmlns:a16="http://schemas.microsoft.com/office/drawing/2014/main" id="{E1BF22A5-5A57-4AF6-B247-2D8B493D9B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1385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kti 5" hidden="1">
                        <a:extLst>
                          <a:ext uri="{FF2B5EF4-FFF2-40B4-BE49-F238E27FC236}">
                            <a16:creationId xmlns:a16="http://schemas.microsoft.com/office/drawing/2014/main" id="{E1BF22A5-5A57-4AF6-B247-2D8B493D9B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366948" cy="1325563"/>
          </a:xfrm>
        </p:spPr>
        <p:txBody>
          <a:bodyPr vert="horz">
            <a:normAutofit/>
          </a:bodyPr>
          <a:lstStyle/>
          <a:p>
            <a:r>
              <a:rPr lang="fi-FI" sz="3600" dirty="0">
                <a:latin typeface="Myriad Pro Semibold" charset="0"/>
                <a:ea typeface="Myriad Pro Semibold" charset="0"/>
                <a:cs typeface="Myriad Pro Semibold" charset="0"/>
              </a:rPr>
              <a:t>Suvullinen lisääntyminen tuottaa perinnöllistä muuntelua</a:t>
            </a:r>
            <a:endParaRPr lang="fi-FI" sz="3600" dirty="0"/>
          </a:p>
        </p:txBody>
      </p:sp>
      <p:graphicFrame>
        <p:nvGraphicFramePr>
          <p:cNvPr id="8" name="Sisällön paikkamerkki 7">
            <a:extLst>
              <a:ext uri="{FF2B5EF4-FFF2-40B4-BE49-F238E27FC236}">
                <a16:creationId xmlns:a16="http://schemas.microsoft.com/office/drawing/2014/main" id="{311B8604-8FEE-42BB-AF19-CDBE2DDB3F1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96503380"/>
              </p:ext>
            </p:extLst>
          </p:nvPr>
        </p:nvGraphicFramePr>
        <p:xfrm>
          <a:off x="838200" y="1690688"/>
          <a:ext cx="9542489" cy="40055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id="{CF47ABF3-D808-437C-99C9-B7CE14174BFD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4441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5" name="Rectangle 14">
            <a:extLst>
              <a:ext uri="{FF2B5EF4-FFF2-40B4-BE49-F238E27FC236}">
                <a16:creationId xmlns:a16="http://schemas.microsoft.com/office/drawing/2014/main" id="{53F29798-D584-4792-9B62-3F5F5C36D6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kstiruutu 9">
            <a:extLst>
              <a:ext uri="{FF2B5EF4-FFF2-40B4-BE49-F238E27FC236}">
                <a16:creationId xmlns:a16="http://schemas.microsoft.com/office/drawing/2014/main" id="{0AA9639B-B7E2-44C5-9CA4-50187E024E5F}"/>
              </a:ext>
            </a:extLst>
          </p:cNvPr>
          <p:cNvSpPr txBox="1"/>
          <p:nvPr/>
        </p:nvSpPr>
        <p:spPr>
          <a:xfrm>
            <a:off x="838200" y="184805"/>
            <a:ext cx="10515600" cy="15058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fi-FI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Meioosin aikana tapahtuneet mutaatiot voivat periytyä jälkeläisille</a:t>
            </a:r>
            <a:endParaRPr lang="en-US" sz="3600" kern="1200" dirty="0">
              <a:solidFill>
                <a:schemeClr val="tx1"/>
              </a:solidFill>
              <a:latin typeface="Myriad Pro Semibold"/>
              <a:ea typeface="+mj-ea"/>
              <a:cs typeface="+mj-cs"/>
            </a:endParaRP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9D1B725A-9F7F-4A5F-A8A5-52289C013BB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838200" y="2375940"/>
            <a:ext cx="9527689" cy="2106119"/>
          </a:xfrm>
          <a:prstGeom prst="rect">
            <a:avLst/>
          </a:prstGeom>
        </p:spPr>
      </p:pic>
      <p:pic>
        <p:nvPicPr>
          <p:cNvPr id="4" name="Kuva 3">
            <a:extLst>
              <a:ext uri="{FF2B5EF4-FFF2-40B4-BE49-F238E27FC236}">
                <a16:creationId xmlns:a16="http://schemas.microsoft.com/office/drawing/2014/main" id="{DFAA2138-5CF7-4889-ACC3-41F434DA99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32761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i 5" hidden="1">
            <a:extLst>
              <a:ext uri="{FF2B5EF4-FFF2-40B4-BE49-F238E27FC236}">
                <a16:creationId xmlns:a16="http://schemas.microsoft.com/office/drawing/2014/main" id="{E1BF22A5-5A57-4AF6-B247-2D8B493D9B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9906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kti 5" hidden="1">
                        <a:extLst>
                          <a:ext uri="{FF2B5EF4-FFF2-40B4-BE49-F238E27FC236}">
                            <a16:creationId xmlns:a16="http://schemas.microsoft.com/office/drawing/2014/main" id="{E1BF22A5-5A57-4AF6-B247-2D8B493D9B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Sisällön paikkamerkki 7">
            <a:extLst>
              <a:ext uri="{FF2B5EF4-FFF2-40B4-BE49-F238E27FC236}">
                <a16:creationId xmlns:a16="http://schemas.microsoft.com/office/drawing/2014/main" id="{311B8604-8FEE-42BB-AF19-CDBE2DDB3F1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13704295"/>
              </p:ext>
            </p:extLst>
          </p:nvPr>
        </p:nvGraphicFramePr>
        <p:xfrm>
          <a:off x="838200" y="1454046"/>
          <a:ext cx="9939728" cy="42422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id="{CF47ABF3-D808-437C-99C9-B7CE14174BFD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65509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C0C92CC4-9821-445B-8FC1-C7630CDC1D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61315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C0C92CC4-9821-445B-8FC1-C7630CDC1D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3C758F86-BBBF-48AA-8EC6-ADA1457FD7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211012"/>
          </a:xfrm>
        </p:spPr>
        <p:txBody>
          <a:bodyPr vert="horz">
            <a:normAutofit/>
          </a:bodyPr>
          <a:lstStyle/>
          <a:p>
            <a:r>
              <a:rPr lang="fi-FI" sz="3600" dirty="0">
                <a:cs typeface="Calibri Light"/>
              </a:rPr>
              <a:t>Tiivistelmä</a:t>
            </a:r>
            <a:endParaRPr lang="fi-FI" sz="3600" dirty="0"/>
          </a:p>
        </p:txBody>
      </p:sp>
      <p:pic>
        <p:nvPicPr>
          <p:cNvPr id="11" name="Kuva 10">
            <a:extLst>
              <a:ext uri="{FF2B5EF4-FFF2-40B4-BE49-F238E27FC236}">
                <a16:creationId xmlns:a16="http://schemas.microsoft.com/office/drawing/2014/main" id="{5B29651F-B6A1-4255-9E21-CACB7100E2F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33643" y="3176"/>
            <a:ext cx="5124713" cy="6667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5155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Kenen xmlns="b074eca8-5fb2-43da-8e1c-14493b353147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78D098488BDB0E4DB3D1B98825041D0E" ma:contentTypeVersion="16" ma:contentTypeDescription="Luo uusi asiakirja." ma:contentTypeScope="" ma:versionID="4f89c020090708f26b985b9dc78b22b3">
  <xsd:schema xmlns:xsd="http://www.w3.org/2001/XMLSchema" xmlns:xs="http://www.w3.org/2001/XMLSchema" xmlns:p="http://schemas.microsoft.com/office/2006/metadata/properties" xmlns:ns2="b074eca8-5fb2-43da-8e1c-14493b353147" xmlns:ns3="10f150c9-2741-4e22-b721-4e123a12c6bb" targetNamespace="http://schemas.microsoft.com/office/2006/metadata/properties" ma:root="true" ma:fieldsID="6513cda6012a58a901e4874fc766236e" ns2:_="" ns3:_="">
    <xsd:import namespace="b074eca8-5fb2-43da-8e1c-14493b353147"/>
    <xsd:import namespace="10f150c9-2741-4e22-b721-4e123a12c6b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Kenen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074eca8-5fb2-43da-8e1c-14493b35314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Kenen" ma:index="19" nillable="true" ma:displayName="Kenen" ma:format="Dropdown" ma:internalName="Kenen">
      <xsd:simpleType>
        <xsd:restriction base="dms:Text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f150c9-2741-4e22-b721-4e123a12c6bb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Jaettu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Jakamisen tiedot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F23C7F9-EAEB-49A2-A0B7-035D1E4E0389}">
  <ds:schemaRefs>
    <ds:schemaRef ds:uri="http://schemas.microsoft.com/office/2006/metadata/properties"/>
    <ds:schemaRef ds:uri="http://purl.org/dc/terms/"/>
    <ds:schemaRef ds:uri="http://schemas.microsoft.com/office/infopath/2007/PartnerControls"/>
    <ds:schemaRef ds:uri="b074eca8-5fb2-43da-8e1c-14493b353147"/>
    <ds:schemaRef ds:uri="http://schemas.openxmlformats.org/package/2006/metadata/core-properties"/>
    <ds:schemaRef ds:uri="10f150c9-2741-4e22-b721-4e123a12c6bb"/>
    <ds:schemaRef ds:uri="http://www.w3.org/XML/1998/namespace"/>
    <ds:schemaRef ds:uri="http://schemas.microsoft.com/office/2006/documentManagement/types"/>
    <ds:schemaRef ds:uri="http://purl.org/dc/elements/1.1/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A6B45939-3B9A-4C21-9D96-3DCB0242B9B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3133D0F-2A2B-489B-9E06-1A58888A051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074eca8-5fb2-43da-8e1c-14493b353147"/>
    <ds:schemaRef ds:uri="10f150c9-2741-4e22-b721-4e123a12c6b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2962</TotalTime>
  <Words>277</Words>
  <Application>Microsoft Office PowerPoint</Application>
  <PresentationFormat>Laajakuva</PresentationFormat>
  <Paragraphs>53</Paragraphs>
  <Slides>9</Slides>
  <Notes>0</Notes>
  <HiddenSlides>0</HiddenSlides>
  <MMClips>0</MMClips>
  <ScaleCrop>false</ScaleCrop>
  <HeadingPairs>
    <vt:vector size="8" baseType="variant">
      <vt:variant>
        <vt:lpstr>Käytetyt fontit</vt:lpstr>
      </vt:variant>
      <vt:variant>
        <vt:i4>4</vt:i4>
      </vt:variant>
      <vt:variant>
        <vt:lpstr>Teema</vt:lpstr>
      </vt:variant>
      <vt:variant>
        <vt:i4>1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9</vt:i4>
      </vt:variant>
    </vt:vector>
  </HeadingPairs>
  <TitlesOfParts>
    <vt:vector size="15" baseType="lpstr">
      <vt:lpstr>Arial</vt:lpstr>
      <vt:lpstr>Calibri</vt:lpstr>
      <vt:lpstr>Calibri Light</vt:lpstr>
      <vt:lpstr>Myriad Pro Semibold</vt:lpstr>
      <vt:lpstr>Office-teema</vt:lpstr>
      <vt:lpstr>think-cell Slide</vt:lpstr>
      <vt:lpstr>9 Geenit siirtyvät sukusoluissa vanhemmilta jälkeläisille</vt:lpstr>
      <vt:lpstr>Peruskäsitteitä</vt:lpstr>
      <vt:lpstr>Meioosissa kromosomiluku puolittuu</vt:lpstr>
      <vt:lpstr>Meioosissa kromosomiluku puolittuu</vt:lpstr>
      <vt:lpstr>PowerPoint-esitys</vt:lpstr>
      <vt:lpstr>Suvullinen lisääntyminen tuottaa perinnöllistä muuntelua</vt:lpstr>
      <vt:lpstr>PowerPoint-esitys</vt:lpstr>
      <vt:lpstr>PowerPoint-esitys</vt:lpstr>
      <vt:lpstr>Tiivistelmä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esitys</dc:title>
  <dc:creator>Marja Penttinen</dc:creator>
  <cp:lastModifiedBy>Helena Laasjärvi</cp:lastModifiedBy>
  <cp:revision>116</cp:revision>
  <dcterms:created xsi:type="dcterms:W3CDTF">2017-07-04T08:37:15Z</dcterms:created>
  <dcterms:modified xsi:type="dcterms:W3CDTF">2022-03-21T21:01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8D098488BDB0E4DB3D1B98825041D0E</vt:lpwstr>
  </property>
</Properties>
</file>